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2" r:id="rId4"/>
    <p:sldMasterId id="2147483660" r:id="rId5"/>
  </p:sldMasterIdLst>
  <p:notesMasterIdLst>
    <p:notesMasterId r:id="rId13"/>
  </p:notesMasterIdLst>
  <p:handoutMasterIdLst>
    <p:handoutMasterId r:id="rId14"/>
  </p:handoutMasterIdLst>
  <p:sldIdLst>
    <p:sldId id="2147471623" r:id="rId6"/>
    <p:sldId id="2147483632" r:id="rId7"/>
    <p:sldId id="2147471637" r:id="rId8"/>
    <p:sldId id="2147483631" r:id="rId9"/>
    <p:sldId id="2147483634" r:id="rId10"/>
    <p:sldId id="2147483635" r:id="rId11"/>
    <p:sldId id="2147483636" r:id="rId12"/>
  </p:sldIdLst>
  <p:sldSz cx="12192000" cy="6858000"/>
  <p:notesSz cx="7010400" cy="9296400"/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gram Updates" id="{35269195-3FC2-8746-9907-2531F9FA2975}">
          <p14:sldIdLst>
            <p14:sldId id="2147471623"/>
            <p14:sldId id="2147483632"/>
            <p14:sldId id="2147471637"/>
            <p14:sldId id="2147483631"/>
            <p14:sldId id="2147483634"/>
            <p14:sldId id="2147483635"/>
            <p14:sldId id="214748363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70F5204-07F3-CF35-7EF1-D8B1907CD4C8}" name="Prabhakaran, Praveen (CCI-Atlanta)" initials="P(" userId="S::praveen.prabhakaran@cox.com::7d888ac5-300c-4679-82d5-157e6386ea4a" providerId="AD"/>
  <p188:author id="{425ED765-A803-93D7-D883-DB2AC28F4656}" name="Patel, Adarsh (CCI-Atlanta)" initials="AP" userId="S::Adarsh.Patel@cox.com::7af17255-eb35-4745-8cd0-1872a692d2c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ve Wishman" initials="SW" lastIdx="1" clrIdx="0">
    <p:extLst>
      <p:ext uri="{19B8F6BF-5375-455C-9EA6-DF929625EA0E}">
        <p15:presenceInfo xmlns:p15="http://schemas.microsoft.com/office/powerpoint/2012/main" userId="Steve Wishman" providerId="None"/>
      </p:ext>
    </p:extLst>
  </p:cmAuthor>
  <p:cmAuthor id="2" name="Fakhraee, Farrah (CCI-Atlanta)" initials="F(" lastIdx="25" clrIdx="1">
    <p:extLst>
      <p:ext uri="{19B8F6BF-5375-455C-9EA6-DF929625EA0E}">
        <p15:presenceInfo xmlns:p15="http://schemas.microsoft.com/office/powerpoint/2012/main" userId="S::farrah.fakhraee@cox.com::be1abb38-cabf-4804-aa7b-b791bed419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181"/>
    <a:srgbClr val="009AE0"/>
    <a:srgbClr val="FFFFFF"/>
    <a:srgbClr val="FAFAFA"/>
    <a:srgbClr val="00A846"/>
    <a:srgbClr val="3DC353"/>
    <a:srgbClr val="FFCC99"/>
    <a:srgbClr val="FEB4A0"/>
    <a:srgbClr val="B6E8BE"/>
    <a:srgbClr val="9191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3ECC612-B146-0C43-9207-EA92CC4C0EB0}" v="1" dt="2024-11-04T16:11:48.1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74" autoAdjust="0"/>
    <p:restoredTop sz="94694"/>
  </p:normalViewPr>
  <p:slideViewPr>
    <p:cSldViewPr snapToGrid="0">
      <p:cViewPr varScale="1">
        <p:scale>
          <a:sx n="83" d="100"/>
          <a:sy n="83" d="100"/>
        </p:scale>
        <p:origin x="658" y="67"/>
      </p:cViewPr>
      <p:guideLst>
        <p:guide orient="horz" pos="2160"/>
        <p:guide pos="3840"/>
        <p:guide pos="33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rabhakaran, Praveen (CCI-Atlanta)" userId="7d888ac5-300c-4679-82d5-157e6386ea4a" providerId="ADAL" clId="{A3ECC612-B146-0C43-9207-EA92CC4C0EB0}"/>
    <pc:docChg chg="undo custSel addSld delSld modSld modSection">
      <pc:chgData name="Prabhakaran, Praveen (CCI-Atlanta)" userId="7d888ac5-300c-4679-82d5-157e6386ea4a" providerId="ADAL" clId="{A3ECC612-B146-0C43-9207-EA92CC4C0EB0}" dt="2024-11-05T15:02:41.316" v="85" actId="207"/>
      <pc:docMkLst>
        <pc:docMk/>
      </pc:docMkLst>
      <pc:sldChg chg="del">
        <pc:chgData name="Prabhakaran, Praveen (CCI-Atlanta)" userId="7d888ac5-300c-4679-82d5-157e6386ea4a" providerId="ADAL" clId="{A3ECC612-B146-0C43-9207-EA92CC4C0EB0}" dt="2024-11-04T16:11:36.307" v="11" actId="2696"/>
        <pc:sldMkLst>
          <pc:docMk/>
          <pc:sldMk cId="2557899830" sldId="2147471620"/>
        </pc:sldMkLst>
      </pc:sldChg>
      <pc:sldChg chg="del">
        <pc:chgData name="Prabhakaran, Praveen (CCI-Atlanta)" userId="7d888ac5-300c-4679-82d5-157e6386ea4a" providerId="ADAL" clId="{A3ECC612-B146-0C43-9207-EA92CC4C0EB0}" dt="2024-11-04T16:11:36.304" v="10" actId="2696"/>
        <pc:sldMkLst>
          <pc:docMk/>
          <pc:sldMk cId="1715251612" sldId="2147471621"/>
        </pc:sldMkLst>
      </pc:sldChg>
      <pc:sldChg chg="del">
        <pc:chgData name="Prabhakaran, Praveen (CCI-Atlanta)" userId="7d888ac5-300c-4679-82d5-157e6386ea4a" providerId="ADAL" clId="{A3ECC612-B146-0C43-9207-EA92CC4C0EB0}" dt="2024-11-04T16:11:36.258" v="8" actId="2696"/>
        <pc:sldMkLst>
          <pc:docMk/>
          <pc:sldMk cId="172584321" sldId="2147471625"/>
        </pc:sldMkLst>
      </pc:sldChg>
      <pc:sldChg chg="del">
        <pc:chgData name="Prabhakaran, Praveen (CCI-Atlanta)" userId="7d888ac5-300c-4679-82d5-157e6386ea4a" providerId="ADAL" clId="{A3ECC612-B146-0C43-9207-EA92CC4C0EB0}" dt="2024-11-04T16:11:36.251" v="6" actId="2696"/>
        <pc:sldMkLst>
          <pc:docMk/>
          <pc:sldMk cId="3436943446" sldId="2147471626"/>
        </pc:sldMkLst>
      </pc:sldChg>
      <pc:sldChg chg="del">
        <pc:chgData name="Prabhakaran, Praveen (CCI-Atlanta)" userId="7d888ac5-300c-4679-82d5-157e6386ea4a" providerId="ADAL" clId="{A3ECC612-B146-0C43-9207-EA92CC4C0EB0}" dt="2024-11-04T16:11:36.214" v="2" actId="2696"/>
        <pc:sldMkLst>
          <pc:docMk/>
          <pc:sldMk cId="250432206" sldId="2147471627"/>
        </pc:sldMkLst>
      </pc:sldChg>
      <pc:sldChg chg="del">
        <pc:chgData name="Prabhakaran, Praveen (CCI-Atlanta)" userId="7d888ac5-300c-4679-82d5-157e6386ea4a" providerId="ADAL" clId="{A3ECC612-B146-0C43-9207-EA92CC4C0EB0}" dt="2024-11-04T16:11:36.218" v="3" actId="2696"/>
        <pc:sldMkLst>
          <pc:docMk/>
          <pc:sldMk cId="2052541730" sldId="2147471629"/>
        </pc:sldMkLst>
      </pc:sldChg>
      <pc:sldChg chg="del">
        <pc:chgData name="Prabhakaran, Praveen (CCI-Atlanta)" userId="7d888ac5-300c-4679-82d5-157e6386ea4a" providerId="ADAL" clId="{A3ECC612-B146-0C43-9207-EA92CC4C0EB0}" dt="2024-11-04T16:11:36.243" v="5" actId="2696"/>
        <pc:sldMkLst>
          <pc:docMk/>
          <pc:sldMk cId="3247228365" sldId="2147471630"/>
        </pc:sldMkLst>
      </pc:sldChg>
      <pc:sldChg chg="del">
        <pc:chgData name="Prabhakaran, Praveen (CCI-Atlanta)" userId="7d888ac5-300c-4679-82d5-157e6386ea4a" providerId="ADAL" clId="{A3ECC612-B146-0C43-9207-EA92CC4C0EB0}" dt="2024-11-04T16:11:36.254" v="7" actId="2696"/>
        <pc:sldMkLst>
          <pc:docMk/>
          <pc:sldMk cId="1540419160" sldId="2147471631"/>
        </pc:sldMkLst>
      </pc:sldChg>
      <pc:sldChg chg="del">
        <pc:chgData name="Prabhakaran, Praveen (CCI-Atlanta)" userId="7d888ac5-300c-4679-82d5-157e6386ea4a" providerId="ADAL" clId="{A3ECC612-B146-0C43-9207-EA92CC4C0EB0}" dt="2024-11-04T16:11:36.204" v="1" actId="2696"/>
        <pc:sldMkLst>
          <pc:docMk/>
          <pc:sldMk cId="3371661624" sldId="2147471632"/>
        </pc:sldMkLst>
      </pc:sldChg>
      <pc:sldChg chg="del">
        <pc:chgData name="Prabhakaran, Praveen (CCI-Atlanta)" userId="7d888ac5-300c-4679-82d5-157e6386ea4a" providerId="ADAL" clId="{A3ECC612-B146-0C43-9207-EA92CC4C0EB0}" dt="2024-11-04T16:11:36.221" v="4" actId="2696"/>
        <pc:sldMkLst>
          <pc:docMk/>
          <pc:sldMk cId="2341022361" sldId="2147471633"/>
        </pc:sldMkLst>
      </pc:sldChg>
      <pc:sldChg chg="del">
        <pc:chgData name="Prabhakaran, Praveen (CCI-Atlanta)" userId="7d888ac5-300c-4679-82d5-157e6386ea4a" providerId="ADAL" clId="{A3ECC612-B146-0C43-9207-EA92CC4C0EB0}" dt="2024-11-04T16:11:36.292" v="9" actId="2696"/>
        <pc:sldMkLst>
          <pc:docMk/>
          <pc:sldMk cId="649637838" sldId="2147471634"/>
        </pc:sldMkLst>
      </pc:sldChg>
      <pc:sldChg chg="del">
        <pc:chgData name="Prabhakaran, Praveen (CCI-Atlanta)" userId="7d888ac5-300c-4679-82d5-157e6386ea4a" providerId="ADAL" clId="{A3ECC612-B146-0C43-9207-EA92CC4C0EB0}" dt="2024-11-04T16:11:36.170" v="0" actId="2696"/>
        <pc:sldMkLst>
          <pc:docMk/>
          <pc:sldMk cId="3006284382" sldId="2147471635"/>
        </pc:sldMkLst>
      </pc:sldChg>
      <pc:sldChg chg="add">
        <pc:chgData name="Prabhakaran, Praveen (CCI-Atlanta)" userId="7d888ac5-300c-4679-82d5-157e6386ea4a" providerId="ADAL" clId="{A3ECC612-B146-0C43-9207-EA92CC4C0EB0}" dt="2024-11-04T16:11:48.181" v="12"/>
        <pc:sldMkLst>
          <pc:docMk/>
          <pc:sldMk cId="1594007210" sldId="2147471637"/>
        </pc:sldMkLst>
      </pc:sldChg>
      <pc:sldChg chg="modSp add mod">
        <pc:chgData name="Prabhakaran, Praveen (CCI-Atlanta)" userId="7d888ac5-300c-4679-82d5-157e6386ea4a" providerId="ADAL" clId="{A3ECC612-B146-0C43-9207-EA92CC4C0EB0}" dt="2024-11-05T15:02:41.316" v="85" actId="207"/>
        <pc:sldMkLst>
          <pc:docMk/>
          <pc:sldMk cId="327855079" sldId="2147483631"/>
        </pc:sldMkLst>
        <pc:graphicFrameChg chg="modGraphic">
          <ac:chgData name="Prabhakaran, Praveen (CCI-Atlanta)" userId="7d888ac5-300c-4679-82d5-157e6386ea4a" providerId="ADAL" clId="{A3ECC612-B146-0C43-9207-EA92CC4C0EB0}" dt="2024-11-05T15:02:41.316" v="85" actId="207"/>
          <ac:graphicFrameMkLst>
            <pc:docMk/>
            <pc:sldMk cId="327855079" sldId="2147483631"/>
            <ac:graphicFrameMk id="17" creationId="{1FC0FC96-470A-D740-8E2E-5B2DC8D38EB2}"/>
          </ac:graphicFrameMkLst>
        </pc:graphicFrame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50EDBE2-88EE-224F-A42F-51EBA0C80428}" type="doc">
      <dgm:prSet loTypeId="urn:microsoft.com/office/officeart/2005/8/layout/process1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674325C-CC63-CA4C-89BD-AF6128AF6D8E}">
      <dgm:prSet phldrT="[Text]"/>
      <dgm:spPr/>
      <dgm:t>
        <a:bodyPr/>
        <a:lstStyle/>
        <a:p>
          <a:r>
            <a:rPr lang="en-US" dirty="0"/>
            <a:t>All </a:t>
          </a:r>
          <a:r>
            <a:rPr lang="en-US" dirty="0" smtClean="0"/>
            <a:t>Markets Ingestion</a:t>
          </a:r>
          <a:endParaRPr lang="en-US" dirty="0"/>
        </a:p>
        <a:p>
          <a:r>
            <a:rPr lang="en-US" b="1" dirty="0"/>
            <a:t>Nov 11</a:t>
          </a:r>
        </a:p>
      </dgm:t>
    </dgm:pt>
    <dgm:pt modelId="{F4E9CB1B-730B-064F-83E7-5B8D78196668}" type="parTrans" cxnId="{47FF049F-AEDA-BA4A-8ECE-971324E50992}">
      <dgm:prSet/>
      <dgm:spPr/>
      <dgm:t>
        <a:bodyPr/>
        <a:lstStyle/>
        <a:p>
          <a:endParaRPr lang="en-US"/>
        </a:p>
      </dgm:t>
    </dgm:pt>
    <dgm:pt modelId="{E8A96DFF-C1EF-FD43-9B72-17230B5CAE92}" type="sibTrans" cxnId="{47FF049F-AEDA-BA4A-8ECE-971324E50992}">
      <dgm:prSet/>
      <dgm:spPr/>
      <dgm:t>
        <a:bodyPr/>
        <a:lstStyle/>
        <a:p>
          <a:endParaRPr lang="en-US"/>
        </a:p>
      </dgm:t>
    </dgm:pt>
    <dgm:pt modelId="{3F729957-727A-764C-B27D-9D4AE217C4B6}">
      <dgm:prSet phldrT="[Text]"/>
      <dgm:spPr/>
      <dgm:t>
        <a:bodyPr/>
        <a:lstStyle/>
        <a:p>
          <a:r>
            <a:rPr lang="en-US" dirty="0"/>
            <a:t>Ingest all </a:t>
          </a:r>
          <a:r>
            <a:rPr lang="en-US" dirty="0" smtClean="0"/>
            <a:t>the markets data</a:t>
          </a:r>
          <a:endParaRPr lang="en-US" dirty="0"/>
        </a:p>
      </dgm:t>
    </dgm:pt>
    <dgm:pt modelId="{8915A0D1-652E-B844-8383-FD5DB617B2FB}" type="parTrans" cxnId="{1DEA568E-544E-814F-A196-81FE9F0D5419}">
      <dgm:prSet/>
      <dgm:spPr/>
      <dgm:t>
        <a:bodyPr/>
        <a:lstStyle/>
        <a:p>
          <a:endParaRPr lang="en-US"/>
        </a:p>
      </dgm:t>
    </dgm:pt>
    <dgm:pt modelId="{AF3D86D8-378B-974B-A5CF-B8EE86592238}" type="sibTrans" cxnId="{1DEA568E-544E-814F-A196-81FE9F0D5419}">
      <dgm:prSet/>
      <dgm:spPr/>
      <dgm:t>
        <a:bodyPr/>
        <a:lstStyle/>
        <a:p>
          <a:endParaRPr lang="en-US"/>
        </a:p>
      </dgm:t>
    </dgm:pt>
    <dgm:pt modelId="{6C8C6840-F200-7E45-B7D6-73ED3967F136}">
      <dgm:prSet phldrT="[Text]"/>
      <dgm:spPr/>
      <dgm:t>
        <a:bodyPr/>
        <a:lstStyle/>
        <a:p>
          <a:r>
            <a:rPr lang="en-US" dirty="0" smtClean="0"/>
            <a:t>Business Brainstorming</a:t>
          </a:r>
          <a:endParaRPr lang="en-US" dirty="0"/>
        </a:p>
        <a:p>
          <a:r>
            <a:rPr lang="en-US" dirty="0"/>
            <a:t> </a:t>
          </a:r>
          <a:r>
            <a:rPr lang="en-US" b="1" dirty="0"/>
            <a:t>Nov 14</a:t>
          </a:r>
        </a:p>
      </dgm:t>
    </dgm:pt>
    <dgm:pt modelId="{F80B3EA3-89F1-554E-8808-FC7DAF555D8D}" type="parTrans" cxnId="{C6686EF8-E73B-7240-9725-63E30A0685D2}">
      <dgm:prSet/>
      <dgm:spPr/>
      <dgm:t>
        <a:bodyPr/>
        <a:lstStyle/>
        <a:p>
          <a:endParaRPr lang="en-US"/>
        </a:p>
      </dgm:t>
    </dgm:pt>
    <dgm:pt modelId="{18C336B2-6B09-9943-A629-94D26EAB4E64}" type="sibTrans" cxnId="{C6686EF8-E73B-7240-9725-63E30A0685D2}">
      <dgm:prSet/>
      <dgm:spPr/>
      <dgm:t>
        <a:bodyPr/>
        <a:lstStyle/>
        <a:p>
          <a:endParaRPr lang="en-US"/>
        </a:p>
      </dgm:t>
    </dgm:pt>
    <dgm:pt modelId="{3D6B2E77-CE75-7947-8CDA-C748CAE25B31}">
      <dgm:prSet phldrT="[Text]"/>
      <dgm:spPr/>
      <dgm:t>
        <a:bodyPr/>
        <a:lstStyle/>
        <a:p>
          <a:r>
            <a:rPr lang="en-US" dirty="0"/>
            <a:t>Review with Matt &amp; team</a:t>
          </a:r>
        </a:p>
      </dgm:t>
    </dgm:pt>
    <dgm:pt modelId="{AC8ABAAF-21A0-8A43-A327-4D817FC9C054}" type="parTrans" cxnId="{4FAB5CF7-12A1-6245-BFA6-EF84D269CA89}">
      <dgm:prSet/>
      <dgm:spPr/>
      <dgm:t>
        <a:bodyPr/>
        <a:lstStyle/>
        <a:p>
          <a:endParaRPr lang="en-US"/>
        </a:p>
      </dgm:t>
    </dgm:pt>
    <dgm:pt modelId="{CACCA85E-375A-FE44-BD53-9F2C0FB5C154}" type="sibTrans" cxnId="{4FAB5CF7-12A1-6245-BFA6-EF84D269CA89}">
      <dgm:prSet/>
      <dgm:spPr/>
      <dgm:t>
        <a:bodyPr/>
        <a:lstStyle/>
        <a:p>
          <a:endParaRPr lang="en-US"/>
        </a:p>
      </dgm:t>
    </dgm:pt>
    <dgm:pt modelId="{39B833EF-FFE4-2A41-96C3-B48EA97C9CFE}">
      <dgm:prSet phldrT="[Text]"/>
      <dgm:spPr/>
      <dgm:t>
        <a:bodyPr/>
        <a:lstStyle/>
        <a:p>
          <a:r>
            <a:rPr lang="en-US" dirty="0" smtClean="0"/>
            <a:t>Final Stakeholder Review</a:t>
          </a:r>
          <a:endParaRPr lang="en-US" dirty="0"/>
        </a:p>
        <a:p>
          <a:r>
            <a:rPr lang="en-US" b="1" dirty="0"/>
            <a:t>Nov 27</a:t>
          </a:r>
        </a:p>
      </dgm:t>
    </dgm:pt>
    <dgm:pt modelId="{9600DAB2-88DF-F94D-BD68-0D3D35EB4571}" type="parTrans" cxnId="{F8C0AE97-603F-AF43-B18D-1B5F37F21D2D}">
      <dgm:prSet/>
      <dgm:spPr/>
      <dgm:t>
        <a:bodyPr/>
        <a:lstStyle/>
        <a:p>
          <a:endParaRPr lang="en-US"/>
        </a:p>
      </dgm:t>
    </dgm:pt>
    <dgm:pt modelId="{CE480228-5A1A-3947-896B-4EC0CB0CF697}" type="sibTrans" cxnId="{F8C0AE97-603F-AF43-B18D-1B5F37F21D2D}">
      <dgm:prSet/>
      <dgm:spPr/>
      <dgm:t>
        <a:bodyPr/>
        <a:lstStyle/>
        <a:p>
          <a:endParaRPr lang="en-US"/>
        </a:p>
      </dgm:t>
    </dgm:pt>
    <dgm:pt modelId="{2BC89519-3E49-AA42-9D66-AF68ABC1D77E}">
      <dgm:prSet phldrT="[Text]"/>
      <dgm:spPr/>
      <dgm:t>
        <a:bodyPr/>
        <a:lstStyle/>
        <a:p>
          <a:r>
            <a:rPr lang="en-US" dirty="0"/>
            <a:t>Final stakeholder review before production</a:t>
          </a:r>
        </a:p>
      </dgm:t>
    </dgm:pt>
    <dgm:pt modelId="{9EE5A00C-3E1D-4744-888B-1DFC14B7CC4C}" type="parTrans" cxnId="{6CC91A5B-8FFE-DD42-8D19-C272423D5B11}">
      <dgm:prSet/>
      <dgm:spPr/>
      <dgm:t>
        <a:bodyPr/>
        <a:lstStyle/>
        <a:p>
          <a:endParaRPr lang="en-US"/>
        </a:p>
      </dgm:t>
    </dgm:pt>
    <dgm:pt modelId="{7B3F378A-29C1-6842-9B63-EEE798C81297}" type="sibTrans" cxnId="{6CC91A5B-8FFE-DD42-8D19-C272423D5B11}">
      <dgm:prSet/>
      <dgm:spPr/>
      <dgm:t>
        <a:bodyPr/>
        <a:lstStyle/>
        <a:p>
          <a:endParaRPr lang="en-US"/>
        </a:p>
      </dgm:t>
    </dgm:pt>
    <dgm:pt modelId="{BC77D762-BF97-3C4E-85C9-2FD3D1CD2393}">
      <dgm:prSet phldrT="[Text]"/>
      <dgm:spPr/>
      <dgm:t>
        <a:bodyPr/>
        <a:lstStyle/>
        <a:p>
          <a:r>
            <a:rPr lang="en-US" dirty="0" smtClean="0"/>
            <a:t>Production Go Live</a:t>
          </a:r>
          <a:endParaRPr lang="en-US" dirty="0"/>
        </a:p>
        <a:p>
          <a:r>
            <a:rPr lang="en-US" b="1" dirty="0"/>
            <a:t>Dec 4</a:t>
          </a:r>
        </a:p>
      </dgm:t>
    </dgm:pt>
    <dgm:pt modelId="{DAC75FA0-9608-E446-A570-C62C929857D4}" type="parTrans" cxnId="{DFBDA288-16C0-1040-85EE-FBDAC44A51FD}">
      <dgm:prSet/>
      <dgm:spPr/>
      <dgm:t>
        <a:bodyPr/>
        <a:lstStyle/>
        <a:p>
          <a:endParaRPr lang="en-US"/>
        </a:p>
      </dgm:t>
    </dgm:pt>
    <dgm:pt modelId="{985D9493-1C8A-8C43-BE83-ED35D04D8F97}" type="sibTrans" cxnId="{DFBDA288-16C0-1040-85EE-FBDAC44A51FD}">
      <dgm:prSet/>
      <dgm:spPr/>
      <dgm:t>
        <a:bodyPr/>
        <a:lstStyle/>
        <a:p>
          <a:endParaRPr lang="en-US"/>
        </a:p>
      </dgm:t>
    </dgm:pt>
    <dgm:pt modelId="{3B3DDA34-D2BB-644F-8D2B-1A6A0FCFEA0D}">
      <dgm:prSet phldrT="[Text]"/>
      <dgm:spPr/>
      <dgm:t>
        <a:bodyPr/>
        <a:lstStyle/>
        <a:p>
          <a:r>
            <a:rPr lang="en-US" dirty="0"/>
            <a:t>Automate Glue ETL</a:t>
          </a:r>
        </a:p>
        <a:p>
          <a:r>
            <a:rPr lang="en-US" b="1" dirty="0"/>
            <a:t>Nov 21</a:t>
          </a:r>
        </a:p>
      </dgm:t>
    </dgm:pt>
    <dgm:pt modelId="{F0667304-1577-E74F-A23D-D48464B64A93}" type="parTrans" cxnId="{77491BF2-C7BD-6C49-8FBD-C9FD2C19E6E8}">
      <dgm:prSet/>
      <dgm:spPr/>
      <dgm:t>
        <a:bodyPr/>
        <a:lstStyle/>
        <a:p>
          <a:endParaRPr lang="en-US"/>
        </a:p>
      </dgm:t>
    </dgm:pt>
    <dgm:pt modelId="{1ABE6D41-26CF-0C4F-AA00-33DEB4472C50}" type="sibTrans" cxnId="{77491BF2-C7BD-6C49-8FBD-C9FD2C19E6E8}">
      <dgm:prSet/>
      <dgm:spPr/>
      <dgm:t>
        <a:bodyPr/>
        <a:lstStyle/>
        <a:p>
          <a:endParaRPr lang="en-US"/>
        </a:p>
      </dgm:t>
    </dgm:pt>
    <dgm:pt modelId="{C0A2CD1C-249E-204D-883E-1219B13ECE84}">
      <dgm:prSet phldrT="[Text]"/>
      <dgm:spPr/>
      <dgm:t>
        <a:bodyPr/>
        <a:lstStyle/>
        <a:p>
          <a:r>
            <a:rPr lang="en-US" dirty="0"/>
            <a:t>Validate </a:t>
          </a:r>
          <a:r>
            <a:rPr lang="en-US" dirty="0" smtClean="0"/>
            <a:t>identified metrics</a:t>
          </a:r>
          <a:endParaRPr lang="en-US" dirty="0"/>
        </a:p>
      </dgm:t>
    </dgm:pt>
    <dgm:pt modelId="{8F1C3138-F1D1-3248-81DE-92129BD215E8}" type="parTrans" cxnId="{13F05E2C-406D-EC4F-AED2-015A9680DD1B}">
      <dgm:prSet/>
      <dgm:spPr/>
      <dgm:t>
        <a:bodyPr/>
        <a:lstStyle/>
        <a:p>
          <a:endParaRPr lang="en-US"/>
        </a:p>
      </dgm:t>
    </dgm:pt>
    <dgm:pt modelId="{4870AFB4-CA2D-FC42-A681-C78EC3277088}" type="sibTrans" cxnId="{13F05E2C-406D-EC4F-AED2-015A9680DD1B}">
      <dgm:prSet/>
      <dgm:spPr/>
      <dgm:t>
        <a:bodyPr/>
        <a:lstStyle/>
        <a:p>
          <a:endParaRPr lang="en-US"/>
        </a:p>
      </dgm:t>
    </dgm:pt>
    <dgm:pt modelId="{FA3D1FC8-D6E9-554B-BFEA-2A6470154078}">
      <dgm:prSet phldrT="[Text]"/>
      <dgm:spPr/>
      <dgm:t>
        <a:bodyPr/>
        <a:lstStyle/>
        <a:p>
          <a:r>
            <a:rPr lang="en-US" dirty="0"/>
            <a:t>Gather feedback for scope</a:t>
          </a:r>
        </a:p>
      </dgm:t>
    </dgm:pt>
    <dgm:pt modelId="{5A761358-A7C6-004D-B1AB-6360BCFA2DD0}" type="parTrans" cxnId="{AA85D1E5-5ED7-D149-B3FA-5693C0936016}">
      <dgm:prSet/>
      <dgm:spPr/>
      <dgm:t>
        <a:bodyPr/>
        <a:lstStyle/>
        <a:p>
          <a:endParaRPr lang="en-US"/>
        </a:p>
      </dgm:t>
    </dgm:pt>
    <dgm:pt modelId="{6CE7B2D2-2BED-0B42-8CED-CE32A0B161D3}" type="sibTrans" cxnId="{AA85D1E5-5ED7-D149-B3FA-5693C0936016}">
      <dgm:prSet/>
      <dgm:spPr/>
      <dgm:t>
        <a:bodyPr/>
        <a:lstStyle/>
        <a:p>
          <a:endParaRPr lang="en-US"/>
        </a:p>
      </dgm:t>
    </dgm:pt>
    <dgm:pt modelId="{2AF71B83-E6F8-B545-B4B3-16D8620F6B11}">
      <dgm:prSet phldrT="[Text]"/>
      <dgm:spPr/>
      <dgm:t>
        <a:bodyPr/>
        <a:lstStyle/>
        <a:p>
          <a:r>
            <a:rPr lang="en-US" dirty="0"/>
            <a:t>Automate ingestion and view creation</a:t>
          </a:r>
        </a:p>
      </dgm:t>
    </dgm:pt>
    <dgm:pt modelId="{90A9FD35-01B9-F34D-B989-AEEA76C82EC9}" type="parTrans" cxnId="{15704AD5-0197-B346-A6BE-BD2A570F1C58}">
      <dgm:prSet/>
      <dgm:spPr/>
      <dgm:t>
        <a:bodyPr/>
        <a:lstStyle/>
        <a:p>
          <a:endParaRPr lang="en-US"/>
        </a:p>
      </dgm:t>
    </dgm:pt>
    <dgm:pt modelId="{47F81266-1650-F54B-81BB-19129EB2C566}" type="sibTrans" cxnId="{15704AD5-0197-B346-A6BE-BD2A570F1C58}">
      <dgm:prSet/>
      <dgm:spPr/>
      <dgm:t>
        <a:bodyPr/>
        <a:lstStyle/>
        <a:p>
          <a:endParaRPr lang="en-US"/>
        </a:p>
      </dgm:t>
    </dgm:pt>
    <dgm:pt modelId="{CF71AACD-3EE4-6D41-9286-DE6977AC8C8D}">
      <dgm:prSet phldrT="[Text]"/>
      <dgm:spPr/>
      <dgm:t>
        <a:bodyPr/>
        <a:lstStyle/>
        <a:p>
          <a:r>
            <a:rPr lang="en-US" dirty="0"/>
            <a:t>Publish dashboard to tableau </a:t>
          </a:r>
        </a:p>
      </dgm:t>
    </dgm:pt>
    <dgm:pt modelId="{B48F84CC-4649-8A41-998A-E6D50963911B}" type="parTrans" cxnId="{617764DD-7C05-3540-9239-A34D0DA6D37E}">
      <dgm:prSet/>
      <dgm:spPr/>
      <dgm:t>
        <a:bodyPr/>
        <a:lstStyle/>
        <a:p>
          <a:endParaRPr lang="en-US"/>
        </a:p>
      </dgm:t>
    </dgm:pt>
    <dgm:pt modelId="{9518E977-67CE-484B-9536-5B627F903EA2}" type="sibTrans" cxnId="{617764DD-7C05-3540-9239-A34D0DA6D37E}">
      <dgm:prSet/>
      <dgm:spPr/>
      <dgm:t>
        <a:bodyPr/>
        <a:lstStyle/>
        <a:p>
          <a:endParaRPr lang="en-US"/>
        </a:p>
      </dgm:t>
    </dgm:pt>
    <dgm:pt modelId="{A722D2B6-72A0-544B-8878-A25245C1B7DC}" type="pres">
      <dgm:prSet presAssocID="{F50EDBE2-88EE-224F-A42F-51EBA0C80428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E400FA3-1810-5E42-96E5-819024EA6118}" type="pres">
      <dgm:prSet presAssocID="{8674325C-CC63-CA4C-89BD-AF6128AF6D8E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93A15B-9728-2C42-8D9C-749F15BA89E7}" type="pres">
      <dgm:prSet presAssocID="{E8A96DFF-C1EF-FD43-9B72-17230B5CAE92}" presName="sibTrans" presStyleLbl="sibTrans2D1" presStyleIdx="0" presStyleCnt="4"/>
      <dgm:spPr/>
      <dgm:t>
        <a:bodyPr/>
        <a:lstStyle/>
        <a:p>
          <a:endParaRPr lang="en-US"/>
        </a:p>
      </dgm:t>
    </dgm:pt>
    <dgm:pt modelId="{AC054E70-951A-F641-A627-B544F6BB537F}" type="pres">
      <dgm:prSet presAssocID="{E8A96DFF-C1EF-FD43-9B72-17230B5CAE92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8BC16F30-CB08-6F4F-85A9-579EF24E5C17}" type="pres">
      <dgm:prSet presAssocID="{6C8C6840-F200-7E45-B7D6-73ED3967F136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CCA81C-DE5A-6B44-9683-F2C3B42F2D65}" type="pres">
      <dgm:prSet presAssocID="{18C336B2-6B09-9943-A629-94D26EAB4E64}" presName="sibTrans" presStyleLbl="sibTrans2D1" presStyleIdx="1" presStyleCnt="4"/>
      <dgm:spPr/>
      <dgm:t>
        <a:bodyPr/>
        <a:lstStyle/>
        <a:p>
          <a:endParaRPr lang="en-US"/>
        </a:p>
      </dgm:t>
    </dgm:pt>
    <dgm:pt modelId="{04577EE9-4814-054F-A911-C76979DF5FA9}" type="pres">
      <dgm:prSet presAssocID="{18C336B2-6B09-9943-A629-94D26EAB4E64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BE74BAD7-3CA5-C44E-A10E-4E84FF3C7715}" type="pres">
      <dgm:prSet presAssocID="{3B3DDA34-D2BB-644F-8D2B-1A6A0FCFEA0D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F32AA4-E84C-E445-9973-81D3BC24AAD8}" type="pres">
      <dgm:prSet presAssocID="{1ABE6D41-26CF-0C4F-AA00-33DEB4472C50}" presName="sibTrans" presStyleLbl="sibTrans2D1" presStyleIdx="2" presStyleCnt="4"/>
      <dgm:spPr/>
      <dgm:t>
        <a:bodyPr/>
        <a:lstStyle/>
        <a:p>
          <a:endParaRPr lang="en-US"/>
        </a:p>
      </dgm:t>
    </dgm:pt>
    <dgm:pt modelId="{331CF784-277D-9443-896B-5CBF2AA0DD39}" type="pres">
      <dgm:prSet presAssocID="{1ABE6D41-26CF-0C4F-AA00-33DEB4472C50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AC5F37C1-CB57-E348-8E7F-3A646974FFE8}" type="pres">
      <dgm:prSet presAssocID="{39B833EF-FFE4-2A41-96C3-B48EA97C9CFE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07EA8FD-FF94-B642-B643-2EDE2E6F128E}" type="pres">
      <dgm:prSet presAssocID="{CE480228-5A1A-3947-896B-4EC0CB0CF697}" presName="sibTrans" presStyleLbl="sibTrans2D1" presStyleIdx="3" presStyleCnt="4"/>
      <dgm:spPr/>
      <dgm:t>
        <a:bodyPr/>
        <a:lstStyle/>
        <a:p>
          <a:endParaRPr lang="en-US"/>
        </a:p>
      </dgm:t>
    </dgm:pt>
    <dgm:pt modelId="{B9DF387F-4C32-AF4E-99E1-41582F0EAF27}" type="pres">
      <dgm:prSet presAssocID="{CE480228-5A1A-3947-896B-4EC0CB0CF697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EC3482D0-ECFF-E041-8D18-EF6E5844C9D7}" type="pres">
      <dgm:prSet presAssocID="{BC77D762-BF97-3C4E-85C9-2FD3D1CD2393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7491BF2-C7BD-6C49-8FBD-C9FD2C19E6E8}" srcId="{F50EDBE2-88EE-224F-A42F-51EBA0C80428}" destId="{3B3DDA34-D2BB-644F-8D2B-1A6A0FCFEA0D}" srcOrd="2" destOrd="0" parTransId="{F0667304-1577-E74F-A23D-D48464B64A93}" sibTransId="{1ABE6D41-26CF-0C4F-AA00-33DEB4472C50}"/>
    <dgm:cxn modelId="{3146B13F-8A08-7D4B-B8EA-3C2B6915A188}" type="presOf" srcId="{CE480228-5A1A-3947-896B-4EC0CB0CF697}" destId="{907EA8FD-FF94-B642-B643-2EDE2E6F128E}" srcOrd="0" destOrd="0" presId="urn:microsoft.com/office/officeart/2005/8/layout/process1"/>
    <dgm:cxn modelId="{3981F388-7AB9-6D42-8E6D-36DDE2494DCB}" type="presOf" srcId="{8674325C-CC63-CA4C-89BD-AF6128AF6D8E}" destId="{1E400FA3-1810-5E42-96E5-819024EA6118}" srcOrd="0" destOrd="0" presId="urn:microsoft.com/office/officeart/2005/8/layout/process1"/>
    <dgm:cxn modelId="{2870217B-F26B-FD40-9B6B-F27D2884F36F}" type="presOf" srcId="{FA3D1FC8-D6E9-554B-BFEA-2A6470154078}" destId="{8BC16F30-CB08-6F4F-85A9-579EF24E5C17}" srcOrd="0" destOrd="2" presId="urn:microsoft.com/office/officeart/2005/8/layout/process1"/>
    <dgm:cxn modelId="{DFBDA288-16C0-1040-85EE-FBDAC44A51FD}" srcId="{F50EDBE2-88EE-224F-A42F-51EBA0C80428}" destId="{BC77D762-BF97-3C4E-85C9-2FD3D1CD2393}" srcOrd="4" destOrd="0" parTransId="{DAC75FA0-9608-E446-A570-C62C929857D4}" sibTransId="{985D9493-1C8A-8C43-BE83-ED35D04D8F97}"/>
    <dgm:cxn modelId="{F8C0AE97-603F-AF43-B18D-1B5F37F21D2D}" srcId="{F50EDBE2-88EE-224F-A42F-51EBA0C80428}" destId="{39B833EF-FFE4-2A41-96C3-B48EA97C9CFE}" srcOrd="3" destOrd="0" parTransId="{9600DAB2-88DF-F94D-BD68-0D3D35EB4571}" sibTransId="{CE480228-5A1A-3947-896B-4EC0CB0CF697}"/>
    <dgm:cxn modelId="{13F05E2C-406D-EC4F-AED2-015A9680DD1B}" srcId="{8674325C-CC63-CA4C-89BD-AF6128AF6D8E}" destId="{C0A2CD1C-249E-204D-883E-1219B13ECE84}" srcOrd="1" destOrd="0" parTransId="{8F1C3138-F1D1-3248-81DE-92129BD215E8}" sibTransId="{4870AFB4-CA2D-FC42-A681-C78EC3277088}"/>
    <dgm:cxn modelId="{C6686EF8-E73B-7240-9725-63E30A0685D2}" srcId="{F50EDBE2-88EE-224F-A42F-51EBA0C80428}" destId="{6C8C6840-F200-7E45-B7D6-73ED3967F136}" srcOrd="1" destOrd="0" parTransId="{F80B3EA3-89F1-554E-8808-FC7DAF555D8D}" sibTransId="{18C336B2-6B09-9943-A629-94D26EAB4E64}"/>
    <dgm:cxn modelId="{AA85D1E5-5ED7-D149-B3FA-5693C0936016}" srcId="{6C8C6840-F200-7E45-B7D6-73ED3967F136}" destId="{FA3D1FC8-D6E9-554B-BFEA-2A6470154078}" srcOrd="1" destOrd="0" parTransId="{5A761358-A7C6-004D-B1AB-6360BCFA2DD0}" sibTransId="{6CE7B2D2-2BED-0B42-8CED-CE32A0B161D3}"/>
    <dgm:cxn modelId="{9B1B26FB-D868-154D-AADA-C4BC4AF157D3}" type="presOf" srcId="{2BC89519-3E49-AA42-9D66-AF68ABC1D77E}" destId="{AC5F37C1-CB57-E348-8E7F-3A646974FFE8}" srcOrd="0" destOrd="1" presId="urn:microsoft.com/office/officeart/2005/8/layout/process1"/>
    <dgm:cxn modelId="{F7BC337C-ED7D-5F4F-98A6-ADB1DEB4FBAA}" type="presOf" srcId="{1ABE6D41-26CF-0C4F-AA00-33DEB4472C50}" destId="{331CF784-277D-9443-896B-5CBF2AA0DD39}" srcOrd="1" destOrd="0" presId="urn:microsoft.com/office/officeart/2005/8/layout/process1"/>
    <dgm:cxn modelId="{16C99C1E-5FCF-474C-B57D-8C1EAE5EB35E}" type="presOf" srcId="{3D6B2E77-CE75-7947-8CDA-C748CAE25B31}" destId="{8BC16F30-CB08-6F4F-85A9-579EF24E5C17}" srcOrd="0" destOrd="1" presId="urn:microsoft.com/office/officeart/2005/8/layout/process1"/>
    <dgm:cxn modelId="{27D930EB-36A6-1844-A570-9FDADA835C8A}" type="presOf" srcId="{1ABE6D41-26CF-0C4F-AA00-33DEB4472C50}" destId="{C3F32AA4-E84C-E445-9973-81D3BC24AAD8}" srcOrd="0" destOrd="0" presId="urn:microsoft.com/office/officeart/2005/8/layout/process1"/>
    <dgm:cxn modelId="{A74B9E98-4013-D149-9944-544F24EB89B3}" type="presOf" srcId="{CF71AACD-3EE4-6D41-9286-DE6977AC8C8D}" destId="{EC3482D0-ECFF-E041-8D18-EF6E5844C9D7}" srcOrd="0" destOrd="1" presId="urn:microsoft.com/office/officeart/2005/8/layout/process1"/>
    <dgm:cxn modelId="{47FF049F-AEDA-BA4A-8ECE-971324E50992}" srcId="{F50EDBE2-88EE-224F-A42F-51EBA0C80428}" destId="{8674325C-CC63-CA4C-89BD-AF6128AF6D8E}" srcOrd="0" destOrd="0" parTransId="{F4E9CB1B-730B-064F-83E7-5B8D78196668}" sibTransId="{E8A96DFF-C1EF-FD43-9B72-17230B5CAE92}"/>
    <dgm:cxn modelId="{B81FF5AE-5293-EF45-9859-924DB2B755F2}" type="presOf" srcId="{CE480228-5A1A-3947-896B-4EC0CB0CF697}" destId="{B9DF387F-4C32-AF4E-99E1-41582F0EAF27}" srcOrd="1" destOrd="0" presId="urn:microsoft.com/office/officeart/2005/8/layout/process1"/>
    <dgm:cxn modelId="{46D04D85-3BEE-5147-A2B8-2922A0843A2A}" type="presOf" srcId="{2AF71B83-E6F8-B545-B4B3-16D8620F6B11}" destId="{BE74BAD7-3CA5-C44E-A10E-4E84FF3C7715}" srcOrd="0" destOrd="1" presId="urn:microsoft.com/office/officeart/2005/8/layout/process1"/>
    <dgm:cxn modelId="{BD204166-5452-6D4E-8BAD-997010636E28}" type="presOf" srcId="{C0A2CD1C-249E-204D-883E-1219B13ECE84}" destId="{1E400FA3-1810-5E42-96E5-819024EA6118}" srcOrd="0" destOrd="2" presId="urn:microsoft.com/office/officeart/2005/8/layout/process1"/>
    <dgm:cxn modelId="{EDE9FEA8-CBD5-1F46-B5A4-9A9599ABFBD0}" type="presOf" srcId="{18C336B2-6B09-9943-A629-94D26EAB4E64}" destId="{04577EE9-4814-054F-A911-C76979DF5FA9}" srcOrd="1" destOrd="0" presId="urn:microsoft.com/office/officeart/2005/8/layout/process1"/>
    <dgm:cxn modelId="{1DEA568E-544E-814F-A196-81FE9F0D5419}" srcId="{8674325C-CC63-CA4C-89BD-AF6128AF6D8E}" destId="{3F729957-727A-764C-B27D-9D4AE217C4B6}" srcOrd="0" destOrd="0" parTransId="{8915A0D1-652E-B844-8383-FD5DB617B2FB}" sibTransId="{AF3D86D8-378B-974B-A5CF-B8EE86592238}"/>
    <dgm:cxn modelId="{2C150111-FD35-A44E-B54A-F6FF8E5B48F0}" type="presOf" srcId="{E8A96DFF-C1EF-FD43-9B72-17230B5CAE92}" destId="{7D93A15B-9728-2C42-8D9C-749F15BA89E7}" srcOrd="0" destOrd="0" presId="urn:microsoft.com/office/officeart/2005/8/layout/process1"/>
    <dgm:cxn modelId="{15704AD5-0197-B346-A6BE-BD2A570F1C58}" srcId="{3B3DDA34-D2BB-644F-8D2B-1A6A0FCFEA0D}" destId="{2AF71B83-E6F8-B545-B4B3-16D8620F6B11}" srcOrd="0" destOrd="0" parTransId="{90A9FD35-01B9-F34D-B989-AEEA76C82EC9}" sibTransId="{47F81266-1650-F54B-81BB-19129EB2C566}"/>
    <dgm:cxn modelId="{D57901D5-63F7-DB49-9A6A-E7F763707E8C}" type="presOf" srcId="{E8A96DFF-C1EF-FD43-9B72-17230B5CAE92}" destId="{AC054E70-951A-F641-A627-B544F6BB537F}" srcOrd="1" destOrd="0" presId="urn:microsoft.com/office/officeart/2005/8/layout/process1"/>
    <dgm:cxn modelId="{938CEE72-3463-DB45-9185-A865A9E9615C}" type="presOf" srcId="{3B3DDA34-D2BB-644F-8D2B-1A6A0FCFEA0D}" destId="{BE74BAD7-3CA5-C44E-A10E-4E84FF3C7715}" srcOrd="0" destOrd="0" presId="urn:microsoft.com/office/officeart/2005/8/layout/process1"/>
    <dgm:cxn modelId="{28F89FEA-6C2C-F84A-8226-AEAAC081259A}" type="presOf" srcId="{39B833EF-FFE4-2A41-96C3-B48EA97C9CFE}" destId="{AC5F37C1-CB57-E348-8E7F-3A646974FFE8}" srcOrd="0" destOrd="0" presId="urn:microsoft.com/office/officeart/2005/8/layout/process1"/>
    <dgm:cxn modelId="{6CC91A5B-8FFE-DD42-8D19-C272423D5B11}" srcId="{39B833EF-FFE4-2A41-96C3-B48EA97C9CFE}" destId="{2BC89519-3E49-AA42-9D66-AF68ABC1D77E}" srcOrd="0" destOrd="0" parTransId="{9EE5A00C-3E1D-4744-888B-1DFC14B7CC4C}" sibTransId="{7B3F378A-29C1-6842-9B63-EEE798C81297}"/>
    <dgm:cxn modelId="{7E1A1091-00DF-9348-B293-9DC12A9AEA23}" type="presOf" srcId="{18C336B2-6B09-9943-A629-94D26EAB4E64}" destId="{04CCA81C-DE5A-6B44-9683-F2C3B42F2D65}" srcOrd="0" destOrd="0" presId="urn:microsoft.com/office/officeart/2005/8/layout/process1"/>
    <dgm:cxn modelId="{D8C606EE-92A2-6148-ACB0-A4D102C6CDFF}" type="presOf" srcId="{F50EDBE2-88EE-224F-A42F-51EBA0C80428}" destId="{A722D2B6-72A0-544B-8878-A25245C1B7DC}" srcOrd="0" destOrd="0" presId="urn:microsoft.com/office/officeart/2005/8/layout/process1"/>
    <dgm:cxn modelId="{5E7EF86B-C41A-334D-8E5D-36D3340FAB08}" type="presOf" srcId="{3F729957-727A-764C-B27D-9D4AE217C4B6}" destId="{1E400FA3-1810-5E42-96E5-819024EA6118}" srcOrd="0" destOrd="1" presId="urn:microsoft.com/office/officeart/2005/8/layout/process1"/>
    <dgm:cxn modelId="{3509BC5E-0DDB-3D41-A088-8C549C5B00D6}" type="presOf" srcId="{BC77D762-BF97-3C4E-85C9-2FD3D1CD2393}" destId="{EC3482D0-ECFF-E041-8D18-EF6E5844C9D7}" srcOrd="0" destOrd="0" presId="urn:microsoft.com/office/officeart/2005/8/layout/process1"/>
    <dgm:cxn modelId="{51EC86FF-1435-0F4C-988E-4E88EA8E3A36}" type="presOf" srcId="{6C8C6840-F200-7E45-B7D6-73ED3967F136}" destId="{8BC16F30-CB08-6F4F-85A9-579EF24E5C17}" srcOrd="0" destOrd="0" presId="urn:microsoft.com/office/officeart/2005/8/layout/process1"/>
    <dgm:cxn modelId="{617764DD-7C05-3540-9239-A34D0DA6D37E}" srcId="{BC77D762-BF97-3C4E-85C9-2FD3D1CD2393}" destId="{CF71AACD-3EE4-6D41-9286-DE6977AC8C8D}" srcOrd="0" destOrd="0" parTransId="{B48F84CC-4649-8A41-998A-E6D50963911B}" sibTransId="{9518E977-67CE-484B-9536-5B627F903EA2}"/>
    <dgm:cxn modelId="{4FAB5CF7-12A1-6245-BFA6-EF84D269CA89}" srcId="{6C8C6840-F200-7E45-B7D6-73ED3967F136}" destId="{3D6B2E77-CE75-7947-8CDA-C748CAE25B31}" srcOrd="0" destOrd="0" parTransId="{AC8ABAAF-21A0-8A43-A327-4D817FC9C054}" sibTransId="{CACCA85E-375A-FE44-BD53-9F2C0FB5C154}"/>
    <dgm:cxn modelId="{F0268A95-CFB8-FC41-90FF-DBC2949E3C04}" type="presParOf" srcId="{A722D2B6-72A0-544B-8878-A25245C1B7DC}" destId="{1E400FA3-1810-5E42-96E5-819024EA6118}" srcOrd="0" destOrd="0" presId="urn:microsoft.com/office/officeart/2005/8/layout/process1"/>
    <dgm:cxn modelId="{23104EA3-5E4A-5446-B6F8-BD6EBCB95567}" type="presParOf" srcId="{A722D2B6-72A0-544B-8878-A25245C1B7DC}" destId="{7D93A15B-9728-2C42-8D9C-749F15BA89E7}" srcOrd="1" destOrd="0" presId="urn:microsoft.com/office/officeart/2005/8/layout/process1"/>
    <dgm:cxn modelId="{2A9CB177-C30D-774E-B650-DFD6B8E72A0D}" type="presParOf" srcId="{7D93A15B-9728-2C42-8D9C-749F15BA89E7}" destId="{AC054E70-951A-F641-A627-B544F6BB537F}" srcOrd="0" destOrd="0" presId="urn:microsoft.com/office/officeart/2005/8/layout/process1"/>
    <dgm:cxn modelId="{D2CBCC34-73E7-EB45-A0A2-50337254053D}" type="presParOf" srcId="{A722D2B6-72A0-544B-8878-A25245C1B7DC}" destId="{8BC16F30-CB08-6F4F-85A9-579EF24E5C17}" srcOrd="2" destOrd="0" presId="urn:microsoft.com/office/officeart/2005/8/layout/process1"/>
    <dgm:cxn modelId="{66D84FCB-19F8-FD44-8641-20869DDD3C5C}" type="presParOf" srcId="{A722D2B6-72A0-544B-8878-A25245C1B7DC}" destId="{04CCA81C-DE5A-6B44-9683-F2C3B42F2D65}" srcOrd="3" destOrd="0" presId="urn:microsoft.com/office/officeart/2005/8/layout/process1"/>
    <dgm:cxn modelId="{0D0C7C1B-2875-EB4F-8D41-4CB86AF876E9}" type="presParOf" srcId="{04CCA81C-DE5A-6B44-9683-F2C3B42F2D65}" destId="{04577EE9-4814-054F-A911-C76979DF5FA9}" srcOrd="0" destOrd="0" presId="urn:microsoft.com/office/officeart/2005/8/layout/process1"/>
    <dgm:cxn modelId="{DCF5EC86-9FD0-5543-8877-6F3FC521D7AE}" type="presParOf" srcId="{A722D2B6-72A0-544B-8878-A25245C1B7DC}" destId="{BE74BAD7-3CA5-C44E-A10E-4E84FF3C7715}" srcOrd="4" destOrd="0" presId="urn:microsoft.com/office/officeart/2005/8/layout/process1"/>
    <dgm:cxn modelId="{A50ADE02-F3AC-164C-86D9-753568E70003}" type="presParOf" srcId="{A722D2B6-72A0-544B-8878-A25245C1B7DC}" destId="{C3F32AA4-E84C-E445-9973-81D3BC24AAD8}" srcOrd="5" destOrd="0" presId="urn:microsoft.com/office/officeart/2005/8/layout/process1"/>
    <dgm:cxn modelId="{B1922D29-181D-484A-BB7C-8962B02FFBBB}" type="presParOf" srcId="{C3F32AA4-E84C-E445-9973-81D3BC24AAD8}" destId="{331CF784-277D-9443-896B-5CBF2AA0DD39}" srcOrd="0" destOrd="0" presId="urn:microsoft.com/office/officeart/2005/8/layout/process1"/>
    <dgm:cxn modelId="{B12E72C8-3940-674A-8699-D566A6750260}" type="presParOf" srcId="{A722D2B6-72A0-544B-8878-A25245C1B7DC}" destId="{AC5F37C1-CB57-E348-8E7F-3A646974FFE8}" srcOrd="6" destOrd="0" presId="urn:microsoft.com/office/officeart/2005/8/layout/process1"/>
    <dgm:cxn modelId="{00EE1DF8-4A47-0F46-81A6-D2EC72631984}" type="presParOf" srcId="{A722D2B6-72A0-544B-8878-A25245C1B7DC}" destId="{907EA8FD-FF94-B642-B643-2EDE2E6F128E}" srcOrd="7" destOrd="0" presId="urn:microsoft.com/office/officeart/2005/8/layout/process1"/>
    <dgm:cxn modelId="{A915922C-195F-7B4F-BA49-FF5F2074697D}" type="presParOf" srcId="{907EA8FD-FF94-B642-B643-2EDE2E6F128E}" destId="{B9DF387F-4C32-AF4E-99E1-41582F0EAF27}" srcOrd="0" destOrd="0" presId="urn:microsoft.com/office/officeart/2005/8/layout/process1"/>
    <dgm:cxn modelId="{0FF73475-D5AB-3D46-A7DD-65B2BB005537}" type="presParOf" srcId="{A722D2B6-72A0-544B-8878-A25245C1B7DC}" destId="{EC3482D0-ECFF-E041-8D18-EF6E5844C9D7}" srcOrd="8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400FA3-1810-5E42-96E5-819024EA6118}">
      <dsp:nvSpPr>
        <dsp:cNvPr id="0" name=""/>
        <dsp:cNvSpPr/>
      </dsp:nvSpPr>
      <dsp:spPr>
        <a:xfrm>
          <a:off x="5220" y="0"/>
          <a:ext cx="1618348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All </a:t>
          </a:r>
          <a:r>
            <a:rPr lang="en-US" sz="1100" kern="1200" dirty="0" smtClean="0"/>
            <a:t>Markets Ingestion</a:t>
          </a:r>
          <a:endParaRPr lang="en-US" sz="1100" kern="1200" dirty="0"/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/>
            <a:t>Nov 11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Ingest all </a:t>
          </a:r>
          <a:r>
            <a:rPr lang="en-US" sz="900" kern="1200" dirty="0" smtClean="0"/>
            <a:t>the markets data</a:t>
          </a:r>
          <a:endParaRPr lang="en-US" sz="900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Validate </a:t>
          </a:r>
          <a:r>
            <a:rPr lang="en-US" sz="900" kern="1200" dirty="0" smtClean="0"/>
            <a:t>identified metrics</a:t>
          </a:r>
          <a:endParaRPr lang="en-US" sz="900" kern="1200" dirty="0"/>
        </a:p>
      </dsp:txBody>
      <dsp:txXfrm>
        <a:off x="29574" y="24354"/>
        <a:ext cx="1569640" cy="782794"/>
      </dsp:txXfrm>
    </dsp:sp>
    <dsp:sp modelId="{7D93A15B-9728-2C42-8D9C-749F15BA89E7}">
      <dsp:nvSpPr>
        <dsp:cNvPr id="0" name=""/>
        <dsp:cNvSpPr/>
      </dsp:nvSpPr>
      <dsp:spPr>
        <a:xfrm>
          <a:off x="1785403" y="215076"/>
          <a:ext cx="343089" cy="401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1785403" y="295346"/>
        <a:ext cx="240162" cy="240810"/>
      </dsp:txXfrm>
    </dsp:sp>
    <dsp:sp modelId="{8BC16F30-CB08-6F4F-85A9-579EF24E5C17}">
      <dsp:nvSpPr>
        <dsp:cNvPr id="0" name=""/>
        <dsp:cNvSpPr/>
      </dsp:nvSpPr>
      <dsp:spPr>
        <a:xfrm>
          <a:off x="2270908" y="0"/>
          <a:ext cx="1618348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Business Brainstorming</a:t>
          </a:r>
          <a:endParaRPr lang="en-US" sz="1100" kern="1200" dirty="0"/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 </a:t>
          </a:r>
          <a:r>
            <a:rPr lang="en-US" sz="1100" b="1" kern="1200" dirty="0"/>
            <a:t>Nov 14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Review with Matt &amp; team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Gather feedback for scope</a:t>
          </a:r>
        </a:p>
      </dsp:txBody>
      <dsp:txXfrm>
        <a:off x="2295262" y="24354"/>
        <a:ext cx="1569640" cy="782794"/>
      </dsp:txXfrm>
    </dsp:sp>
    <dsp:sp modelId="{04CCA81C-DE5A-6B44-9683-F2C3B42F2D65}">
      <dsp:nvSpPr>
        <dsp:cNvPr id="0" name=""/>
        <dsp:cNvSpPr/>
      </dsp:nvSpPr>
      <dsp:spPr>
        <a:xfrm>
          <a:off x="4051092" y="215076"/>
          <a:ext cx="343089" cy="401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4051092" y="295346"/>
        <a:ext cx="240162" cy="240810"/>
      </dsp:txXfrm>
    </dsp:sp>
    <dsp:sp modelId="{BE74BAD7-3CA5-C44E-A10E-4E84FF3C7715}">
      <dsp:nvSpPr>
        <dsp:cNvPr id="0" name=""/>
        <dsp:cNvSpPr/>
      </dsp:nvSpPr>
      <dsp:spPr>
        <a:xfrm>
          <a:off x="4536596" y="0"/>
          <a:ext cx="1618348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Automate Glue ETL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/>
            <a:t>Nov 21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Automate ingestion and view creation</a:t>
          </a:r>
        </a:p>
      </dsp:txBody>
      <dsp:txXfrm>
        <a:off x="4560950" y="24354"/>
        <a:ext cx="1569640" cy="782794"/>
      </dsp:txXfrm>
    </dsp:sp>
    <dsp:sp modelId="{C3F32AA4-E84C-E445-9973-81D3BC24AAD8}">
      <dsp:nvSpPr>
        <dsp:cNvPr id="0" name=""/>
        <dsp:cNvSpPr/>
      </dsp:nvSpPr>
      <dsp:spPr>
        <a:xfrm>
          <a:off x="6316780" y="215076"/>
          <a:ext cx="343089" cy="401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6316780" y="295346"/>
        <a:ext cx="240162" cy="240810"/>
      </dsp:txXfrm>
    </dsp:sp>
    <dsp:sp modelId="{AC5F37C1-CB57-E348-8E7F-3A646974FFE8}">
      <dsp:nvSpPr>
        <dsp:cNvPr id="0" name=""/>
        <dsp:cNvSpPr/>
      </dsp:nvSpPr>
      <dsp:spPr>
        <a:xfrm>
          <a:off x="6802284" y="0"/>
          <a:ext cx="1618348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Final Stakeholder Review</a:t>
          </a:r>
          <a:endParaRPr lang="en-US" sz="1100" kern="1200" dirty="0"/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/>
            <a:t>Nov 27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Final stakeholder review before production</a:t>
          </a:r>
        </a:p>
      </dsp:txBody>
      <dsp:txXfrm>
        <a:off x="6826638" y="24354"/>
        <a:ext cx="1569640" cy="782794"/>
      </dsp:txXfrm>
    </dsp:sp>
    <dsp:sp modelId="{907EA8FD-FF94-B642-B643-2EDE2E6F128E}">
      <dsp:nvSpPr>
        <dsp:cNvPr id="0" name=""/>
        <dsp:cNvSpPr/>
      </dsp:nvSpPr>
      <dsp:spPr>
        <a:xfrm>
          <a:off x="8582468" y="215076"/>
          <a:ext cx="343089" cy="401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8582468" y="295346"/>
        <a:ext cx="240162" cy="240810"/>
      </dsp:txXfrm>
    </dsp:sp>
    <dsp:sp modelId="{EC3482D0-ECFF-E041-8D18-EF6E5844C9D7}">
      <dsp:nvSpPr>
        <dsp:cNvPr id="0" name=""/>
        <dsp:cNvSpPr/>
      </dsp:nvSpPr>
      <dsp:spPr>
        <a:xfrm>
          <a:off x="9067972" y="0"/>
          <a:ext cx="1618348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Production Go Live</a:t>
          </a:r>
          <a:endParaRPr lang="en-US" sz="1100" kern="1200" dirty="0"/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/>
            <a:t>Dec 4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Publish dashboard to tableau </a:t>
          </a:r>
        </a:p>
      </dsp:txBody>
      <dsp:txXfrm>
        <a:off x="9092326" y="24354"/>
        <a:ext cx="1569640" cy="7827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2A4568-490B-4773-9325-6DC0D57362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21C877-104C-41FE-B0CC-8E34495890B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133A4081-A38B-4F77-8ADC-D0C91E8E4423}" type="datetimeFigureOut">
              <a:rPr lang="en-US" smtClean="0"/>
              <a:t>11/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61166-372A-4474-A2EF-C771746BF9C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3515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D7FD4F0E-FBD7-0044-978C-3C81CA637440}" type="datetimeFigureOut">
              <a:rPr lang="en-US" smtClean="0"/>
              <a:t>11/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1162050"/>
            <a:ext cx="5578475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6" tIns="46588" rIns="93176" bIns="4658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6" tIns="46588" rIns="93176" bIns="4658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r">
              <a:defRPr sz="1200"/>
            </a:lvl1pPr>
          </a:lstStyle>
          <a:p>
            <a:fld id="{09AA5F6D-AE36-2045-8FBC-CC75880C59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5126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41DB0C-817D-D1C1-9CA8-AF753065EC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4ED567-419C-5827-F1D3-B75DFF798E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6947E7-726C-603B-44E4-9F7344A073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B144A6-DE40-EDFD-6432-114A3410BE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97546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2510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41DB0C-817D-D1C1-9CA8-AF753065EC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4ED567-419C-5827-F1D3-B75DFF798E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6947E7-726C-603B-44E4-9F7344A073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B144A6-DE40-EDFD-6432-114A3410BE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11227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8950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04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06FDC6-3AEF-4F15-8624-DF19A27FD1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23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 userDrawn="1"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145433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001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2658800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9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 userDrawn="1"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 userDrawn="1"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 userDrawn="1"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280798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 userDrawn="1"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 userDrawn="1"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730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 userDrawn="1"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357008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646459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010191-A0CB-4885-8BEB-367627E64C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0736" y="429413"/>
            <a:ext cx="1371600" cy="507492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 userDrawn="1"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2176780"/>
            <a:ext cx="5181600" cy="25044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 userDrawn="1"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/>
              <a:t>any masters that appear after this warning are </a:t>
            </a:r>
            <a:r>
              <a:rPr lang="en-US" sz="4267">
                <a:solidFill>
                  <a:srgbClr val="CD0000"/>
                </a:solidFill>
              </a:rPr>
              <a:t>rogue layouts </a:t>
            </a:r>
            <a:r>
              <a:rPr lang="en-US" sz="4267">
                <a:solidFill>
                  <a:srgbClr val="F9451B"/>
                </a:solidFill>
              </a:rPr>
              <a:t/>
            </a:r>
            <a:br>
              <a:rPr lang="en-US" sz="4267">
                <a:solidFill>
                  <a:srgbClr val="F9451B"/>
                </a:solidFill>
              </a:rPr>
            </a:br>
            <a:r>
              <a:rPr lang="en-US" sz="4267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 userDrawn="1"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 userDrawn="1"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45327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ADE5"/>
              </a:gs>
              <a:gs pos="100000">
                <a:srgbClr val="00D257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8A08F9-81A3-40B0-B298-A4946C6723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5536887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12047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06FDC6-3AEF-4F15-8624-DF19A27FD1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161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60165E-88CB-4C4F-8D10-AE6F48290A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03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6625D3-6D99-42FC-9BD2-4FB7B9138D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21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/>
        </p:nvSpPr>
        <p:spPr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/>
        </p:nvSpPr>
        <p:spPr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37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FE4B87-AB83-4304-BBDA-6963838CE43E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0315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12236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F71271-2672-48F6-BC19-53395FF7C065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58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41201FA-5DBA-4DE0-B906-E28ACF9BC7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862" y="6024584"/>
            <a:ext cx="996696" cy="368778"/>
          </a:xfrm>
          <a:prstGeom prst="rect">
            <a:avLst/>
          </a:prstGeom>
        </p:spPr>
      </p:pic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6746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8702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7B62AD9-91F5-4EE5-9154-949334310311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3457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_No Logo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232D39-0A1A-4BA0-979D-C31433B2E69B}"/>
              </a:ext>
            </a:extLst>
          </p:cNvPr>
          <p:cNvSpPr/>
          <p:nvPr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16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A906660-664F-4E9F-907C-C78FB8B0F8C2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236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6686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047624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193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327472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1620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165315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406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 userDrawn="1"/>
        </p:nvSpPr>
        <p:spPr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 userDrawn="1"/>
        </p:nvSpPr>
        <p:spPr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679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46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042179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96672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2176780"/>
            <a:ext cx="5181600" cy="250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37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/>
              <a:t>any masters that appear after this warning are </a:t>
            </a:r>
            <a:r>
              <a:rPr lang="en-US" sz="4267">
                <a:solidFill>
                  <a:srgbClr val="CD0000"/>
                </a:solidFill>
              </a:rPr>
              <a:t>rogue layouts </a:t>
            </a:r>
            <a:r>
              <a:rPr lang="en-US" sz="4267">
                <a:solidFill>
                  <a:srgbClr val="F9451B"/>
                </a:solidFill>
              </a:rPr>
              <a:t/>
            </a:r>
            <a:br>
              <a:rPr lang="en-US" sz="4267">
                <a:solidFill>
                  <a:srgbClr val="F9451B"/>
                </a:solidFill>
              </a:rPr>
            </a:br>
            <a:r>
              <a:rPr lang="en-US" sz="4267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58136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 userDrawn="1"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44863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135422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9337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2765782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28" Type="http://schemas.openxmlformats.org/officeDocument/2006/relationships/image" Target="../media/image6.emf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58A5538-B5E1-44AC-8F98-62A64CCF24E0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0961934" y="6259494"/>
            <a:ext cx="749808" cy="27743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CI Proprietary and Confidentia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05A1D9-4FF0-424F-8965-1733D133AAF3}"/>
              </a:ext>
            </a:extLst>
          </p:cNvPr>
          <p:cNvSpPr>
            <a:spLocks/>
          </p:cNvSpPr>
          <p:nvPr userDrawn="1"/>
        </p:nvSpPr>
        <p:spPr bwMode="ltGray">
          <a:xfrm>
            <a:off x="5927527" y="6515709"/>
            <a:ext cx="336947" cy="20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1pPr>
            <a:lvl2pPr marL="742950" indent="-28575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2pPr>
            <a:lvl3pPr marL="11430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3pPr>
            <a:lvl4pPr marL="16002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4pPr>
            <a:lvl5pPr marL="20574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5pPr>
            <a:lvl6pPr marL="25146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6pPr>
            <a:lvl7pPr marL="29718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7pPr>
            <a:lvl8pPr marL="34290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8pPr>
            <a:lvl9pPr marL="38862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9pPr>
          </a:lstStyle>
          <a:p>
            <a:pPr algn="ctr" defTabSz="685800" fontAlgn="base" hangingPunct="0">
              <a:spcBef>
                <a:spcPct val="0"/>
              </a:spcBef>
              <a:spcAft>
                <a:spcPct val="0"/>
              </a:spcAft>
            </a:pPr>
            <a:fld id="{4A8294F5-3876-0A48-B245-F7D64BCA98A8}" type="slidenum">
              <a:rPr lang="uk-UA" altLang="en-US" sz="800">
                <a:solidFill>
                  <a:schemeClr val="bg1">
                    <a:lumMod val="65000"/>
                  </a:schemeClr>
                </a:solidFill>
                <a:latin typeface="+mn-lt"/>
                <a:ea typeface="Proxima Nova" charset="0"/>
                <a:cs typeface="Proxima Nova" charset="0"/>
                <a:sym typeface="Proxima Nova" charset="0"/>
              </a:rPr>
              <a:pPr algn="ctr" defTabSz="68580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800">
              <a:solidFill>
                <a:schemeClr val="bg1">
                  <a:lumMod val="65000"/>
                </a:schemeClr>
              </a:solidFill>
              <a:latin typeface="+mn-lt"/>
              <a:ea typeface="Proxima Nova" charset="0"/>
              <a:cs typeface="Proxima Nova" charset="0"/>
              <a:sym typeface="Proxima Nova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 userDrawn="1"/>
        </p:nvSpPr>
        <p:spPr>
          <a:xfrm>
            <a:off x="1354975" y="6398435"/>
            <a:ext cx="9387680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414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18" r:id="rId2"/>
    <p:sldLayoutId id="2147483772" r:id="rId3"/>
    <p:sldLayoutId id="2147483773" r:id="rId4"/>
    <p:sldLayoutId id="2147483753" r:id="rId5"/>
    <p:sldLayoutId id="2147483699" r:id="rId6"/>
    <p:sldLayoutId id="2147483768" r:id="rId7"/>
    <p:sldLayoutId id="2147483776" r:id="rId8"/>
    <p:sldLayoutId id="2147483700" r:id="rId9"/>
    <p:sldLayoutId id="2147483702" r:id="rId10"/>
    <p:sldLayoutId id="2147483760" r:id="rId11"/>
    <p:sldLayoutId id="2147483752" r:id="rId12"/>
    <p:sldLayoutId id="2147483771" r:id="rId13"/>
    <p:sldLayoutId id="2147483775" r:id="rId14"/>
    <p:sldLayoutId id="2147483762" r:id="rId15"/>
    <p:sldLayoutId id="2147483755" r:id="rId16"/>
    <p:sldLayoutId id="2147483749" r:id="rId17"/>
    <p:sldLayoutId id="2147483769" r:id="rId18"/>
    <p:sldLayoutId id="2147483774" r:id="rId19"/>
    <p:sldLayoutId id="2147483711" r:id="rId20"/>
    <p:sldLayoutId id="2147483750" r:id="rId21"/>
    <p:sldLayoutId id="2147483777" r:id="rId22"/>
  </p:sldLayoutIdLst>
  <p:hf hdr="0" dt="0"/>
  <p:txStyles>
    <p:titleStyle>
      <a:lvl1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0" fontAlgn="base" hangingPunct="0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0" fontAlgn="base" hangingPunct="0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0" fontAlgn="base" hangingPunct="0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A98120-3EF7-461E-AC34-C02BF5C3A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27" imgW="347" imgH="348" progId="TCLayout.ActiveDocument.1">
                  <p:embed/>
                </p:oleObj>
              </mc:Choice>
              <mc:Fallback>
                <p:oleObj name="think-cell Slide" r:id="rId27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A98120-3EF7-461E-AC34-C02BF5C3A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695ED66-1FB5-4142-98B1-DADBDD7E74A6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FC5EA-0D98-46D6-9AD5-D2066C50748C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979898" y="6279823"/>
            <a:ext cx="722376" cy="241996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/>
        </p:nvSpPr>
        <p:spPr>
          <a:xfrm>
            <a:off x="489726" y="6398435"/>
            <a:ext cx="10252929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76ED712-E8D1-4EA1-B8CF-F695AA915A25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096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xStyles>
    <p:titleStyle>
      <a:lvl1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1" fontAlgn="base" hangingPunct="1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1" fontAlgn="base" hangingPunct="1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1" fontAlgn="base" hangingPunct="1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438" y="2466109"/>
            <a:ext cx="8315325" cy="969819"/>
          </a:xfrm>
        </p:spPr>
        <p:txBody>
          <a:bodyPr/>
          <a:lstStyle/>
          <a:p>
            <a:r>
              <a:rPr lang="en-US"/>
              <a:t>CIAM Project Upda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2438" y="4858326"/>
            <a:ext cx="5518225" cy="450791"/>
          </a:xfrm>
        </p:spPr>
        <p:txBody>
          <a:bodyPr/>
          <a:lstStyle/>
          <a:p>
            <a:r>
              <a:rPr lang="en-US" dirty="0"/>
              <a:t>18</a:t>
            </a:r>
            <a:r>
              <a:rPr lang="en-US" baseline="30000" dirty="0"/>
              <a:t>th</a:t>
            </a:r>
            <a:r>
              <a:rPr lang="en-US" dirty="0"/>
              <a:t> October 2024</a:t>
            </a:r>
          </a:p>
        </p:txBody>
      </p:sp>
    </p:spTree>
    <p:extLst>
      <p:ext uri="{BB962C8B-B14F-4D97-AF65-F5344CB8AC3E}">
        <p14:creationId xmlns:p14="http://schemas.microsoft.com/office/powerpoint/2010/main" val="122109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7C1EA-7477-EFD8-ACE4-9AF8A98928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565747-F09D-9734-214B-753C030F96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014" y="85288"/>
            <a:ext cx="11531969" cy="463610"/>
          </a:xfrm>
        </p:spPr>
        <p:txBody>
          <a:bodyPr/>
          <a:lstStyle/>
          <a:p>
            <a:r>
              <a:rPr lang="en-US" sz="2800" dirty="0">
                <a:latin typeface="+mj-lt"/>
                <a:cs typeface="Arial" panose="020B0604020202020204" pitchFamily="34" charset="0"/>
              </a:rPr>
              <a:t>CIAM </a:t>
            </a:r>
            <a:r>
              <a:rPr lang="en-US" sz="2800" dirty="0" smtClean="0">
                <a:latin typeface="+mj-lt"/>
                <a:cs typeface="Arial" panose="020B0604020202020204" pitchFamily="34" charset="0"/>
              </a:rPr>
              <a:t>Project Gantt. </a:t>
            </a:r>
            <a:r>
              <a:rPr lang="en-US" sz="2800" dirty="0">
                <a:latin typeface="+mj-lt"/>
                <a:cs typeface="Arial" panose="020B0604020202020204" pitchFamily="34" charset="0"/>
              </a:rPr>
              <a:t>Status – </a:t>
            </a:r>
            <a:r>
              <a:rPr lang="en-US" sz="2800" dirty="0" smtClean="0">
                <a:solidFill>
                  <a:srgbClr val="285A93"/>
                </a:solidFill>
                <a:latin typeface="Calibri Light" panose="020F0302020204030204"/>
                <a:cs typeface="Arial" panose="020B0604020202020204" pitchFamily="34" charset="0"/>
              </a:rPr>
              <a:t>08</a:t>
            </a:r>
            <a:r>
              <a:rPr lang="en-US" sz="2800" baseline="30000" dirty="0" smtClean="0">
                <a:solidFill>
                  <a:srgbClr val="285A93"/>
                </a:solidFill>
                <a:latin typeface="Calibri Light" panose="020F0302020204030204"/>
                <a:cs typeface="Arial" panose="020B0604020202020204" pitchFamily="34" charset="0"/>
              </a:rPr>
              <a:t>th</a:t>
            </a:r>
            <a:r>
              <a:rPr lang="en-US" sz="2800" dirty="0" smtClean="0">
                <a:solidFill>
                  <a:srgbClr val="285A93"/>
                </a:solidFill>
                <a:latin typeface="Calibri Light" panose="020F0302020204030204"/>
                <a:cs typeface="Arial" panose="020B0604020202020204" pitchFamily="34" charset="0"/>
              </a:rPr>
              <a:t> November 2024</a:t>
            </a:r>
            <a:endParaRPr lang="en-US" sz="28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DAA894-E806-37E0-20B3-822428189F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A9BAA1-7ABE-0E8B-2CE7-909155A05F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lowchart: Connector 65">
            <a:extLst>
              <a:ext uri="{FF2B5EF4-FFF2-40B4-BE49-F238E27FC236}">
                <a16:creationId xmlns:a16="http://schemas.microsoft.com/office/drawing/2014/main" id="{43422150-0BEA-758F-310B-B3DC2D2B0E6E}"/>
              </a:ext>
            </a:extLst>
          </p:cNvPr>
          <p:cNvSpPr/>
          <p:nvPr/>
        </p:nvSpPr>
        <p:spPr>
          <a:xfrm>
            <a:off x="9390837" y="114606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>
            <a:extLst>
              <a:ext uri="{FF2B5EF4-FFF2-40B4-BE49-F238E27FC236}">
                <a16:creationId xmlns:a16="http://schemas.microsoft.com/office/drawing/2014/main" id="{11407D37-265B-246A-2F5F-AAFADA542028}"/>
              </a:ext>
            </a:extLst>
          </p:cNvPr>
          <p:cNvSpPr/>
          <p:nvPr/>
        </p:nvSpPr>
        <p:spPr>
          <a:xfrm>
            <a:off x="10785526" y="117831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6D56523-2397-7D97-BED2-6B70527C6BDC}"/>
              </a:ext>
            </a:extLst>
          </p:cNvPr>
          <p:cNvSpPr txBox="1"/>
          <p:nvPr/>
        </p:nvSpPr>
        <p:spPr>
          <a:xfrm>
            <a:off x="9488410" y="70325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gging as Per Plan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6B006EF-6F39-65EC-E27D-CE003265D113}"/>
              </a:ext>
            </a:extLst>
          </p:cNvPr>
          <p:cNvSpPr txBox="1"/>
          <p:nvPr/>
        </p:nvSpPr>
        <p:spPr>
          <a:xfrm>
            <a:off x="10878204" y="67498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n Track as Per Plan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9791873"/>
              </p:ext>
            </p:extLst>
          </p:nvPr>
        </p:nvGraphicFramePr>
        <p:xfrm>
          <a:off x="396443" y="854448"/>
          <a:ext cx="11285787" cy="5149189"/>
        </p:xfrm>
        <a:graphic>
          <a:graphicData uri="http://schemas.openxmlformats.org/drawingml/2006/table">
            <a:tbl>
              <a:tblPr firstRow="1" firstCol="1" bandRow="1"/>
              <a:tblGrid>
                <a:gridCol w="1621909">
                  <a:extLst>
                    <a:ext uri="{9D8B030D-6E8A-4147-A177-3AD203B41FA5}">
                      <a16:colId xmlns:a16="http://schemas.microsoft.com/office/drawing/2014/main" val="2772420419"/>
                    </a:ext>
                  </a:extLst>
                </a:gridCol>
                <a:gridCol w="1621909">
                  <a:extLst>
                    <a:ext uri="{9D8B030D-6E8A-4147-A177-3AD203B41FA5}">
                      <a16:colId xmlns:a16="http://schemas.microsoft.com/office/drawing/2014/main" val="2618318924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974654839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3711473444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110451774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3265653532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3798541391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845744363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464322797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1260005292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797580823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2390239122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2308243515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1941078327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945227073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1651852523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642752921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1711937535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3184623783"/>
                    </a:ext>
                  </a:extLst>
                </a:gridCol>
              </a:tblGrid>
              <a:tr h="342263">
                <a:tc grid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Activities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12-Aug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19-Aug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26-Aug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2-Sep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9-Sep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16-Sep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23-Sep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30-Sep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7-Oct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14-Oct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21-Oct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28-Oct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4-Nov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11-Nov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18-Nov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25-Nov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2-Dec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351193"/>
                  </a:ext>
                </a:extLst>
              </a:tr>
              <a:tr h="342263">
                <a:tc rowSpan="8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Aptos"/>
                          <a:ea typeface="Calibri" panose="020F0502020204030204" pitchFamily="34" charset="0"/>
                        </a:rPr>
                        <a:t>Engineering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Individual Accesses &amp; Azure AVD set up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149"/>
                  </a:ext>
                </a:extLst>
              </a:tr>
              <a:tr h="50990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Discovery &amp; Requirement Gathering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7447616"/>
                  </a:ext>
                </a:extLst>
              </a:tr>
              <a:tr h="50990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Accesses and Environment Setup (AWS)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1630649"/>
                  </a:ext>
                </a:extLst>
              </a:tr>
              <a:tr h="34226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Build Data Framework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4109680"/>
                  </a:ext>
                </a:extLst>
              </a:tr>
              <a:tr h="2889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Data Validation 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931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1693005"/>
                  </a:ext>
                </a:extLst>
              </a:tr>
              <a:tr h="34226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Data Transformation Flow (ETL)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931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5674731"/>
                  </a:ext>
                </a:extLst>
              </a:tr>
              <a:tr h="34226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Scheduling and Automation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3334441"/>
                  </a:ext>
                </a:extLst>
              </a:tr>
              <a:tr h="2889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Monitoring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796669"/>
                  </a:ext>
                </a:extLst>
              </a:tr>
              <a:tr h="342263">
                <a:tc rowSpan="6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Aptos"/>
                          <a:ea typeface="Calibri" panose="020F0502020204030204" pitchFamily="34" charset="0"/>
                        </a:rPr>
                        <a:t>Visualization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Business Goals &amp; Data Sample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3741309"/>
                  </a:ext>
                </a:extLst>
              </a:tr>
              <a:tr h="2889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Design Templates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7539897"/>
                  </a:ext>
                </a:extLst>
              </a:tr>
              <a:tr h="2889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Stakeholder Review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2387753"/>
                  </a:ext>
                </a:extLst>
              </a:tr>
              <a:tr h="2889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Development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931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731752"/>
                  </a:ext>
                </a:extLst>
              </a:tr>
              <a:tr h="2889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Validation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931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601788"/>
                  </a:ext>
                </a:extLst>
              </a:tr>
              <a:tr h="34226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Deployment &amp; Support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7119548"/>
                  </a:ext>
                </a:extLst>
              </a:tr>
            </a:tbl>
          </a:graphicData>
        </a:graphic>
      </p:graphicFrame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396443" y="854448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ptos" charset="0"/>
                <a:ea typeface="Calibri" panose="020F0502020204030204" pitchFamily="34" charset="0"/>
              </a:rPr>
              <a:t> </a:t>
            </a:r>
            <a:endParaRPr kumimoji="0" lang="en-US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1419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014" y="85288"/>
            <a:ext cx="11531969" cy="463610"/>
          </a:xfrm>
        </p:spPr>
        <p:txBody>
          <a:bodyPr/>
          <a:lstStyle/>
          <a:p>
            <a:r>
              <a:rPr lang="en-US" sz="2800" dirty="0">
                <a:latin typeface="+mj-lt"/>
                <a:cs typeface="Arial" panose="020B0604020202020204" pitchFamily="34" charset="0"/>
              </a:rPr>
              <a:t>CIAM Project </a:t>
            </a:r>
            <a:r>
              <a:rPr lang="en-US" sz="2800" dirty="0" smtClean="0">
                <a:latin typeface="+mj-lt"/>
                <a:cs typeface="Arial" panose="020B0604020202020204" pitchFamily="34" charset="0"/>
              </a:rPr>
              <a:t>Milestones </a:t>
            </a:r>
            <a:r>
              <a:rPr lang="en-US" sz="2800" dirty="0">
                <a:latin typeface="+mj-lt"/>
                <a:cs typeface="Arial" panose="020B0604020202020204" pitchFamily="34" charset="0"/>
              </a:rPr>
              <a:t>– </a:t>
            </a:r>
            <a:r>
              <a:rPr lang="en-US" sz="2800" dirty="0" smtClean="0">
                <a:latin typeface="+mj-lt"/>
                <a:cs typeface="Arial" panose="020B0604020202020204" pitchFamily="34" charset="0"/>
              </a:rPr>
              <a:t>08</a:t>
            </a:r>
            <a:r>
              <a:rPr lang="en-US" sz="2800" baseline="30000" dirty="0" smtClean="0">
                <a:latin typeface="+mj-lt"/>
                <a:cs typeface="Arial" panose="020B0604020202020204" pitchFamily="34" charset="0"/>
              </a:rPr>
              <a:t>th</a:t>
            </a:r>
            <a:r>
              <a:rPr lang="en-US" sz="2800" dirty="0" smtClean="0">
                <a:latin typeface="+mj-lt"/>
                <a:cs typeface="Arial" panose="020B0604020202020204" pitchFamily="34" charset="0"/>
              </a:rPr>
              <a:t> November </a:t>
            </a:r>
            <a:r>
              <a:rPr lang="en-US" sz="2800" dirty="0">
                <a:latin typeface="+mj-lt"/>
                <a:cs typeface="Arial" panose="020B0604020202020204" pitchFamily="34" charset="0"/>
              </a:rPr>
              <a:t>2024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8040012"/>
              </p:ext>
            </p:extLst>
          </p:nvPr>
        </p:nvGraphicFramePr>
        <p:xfrm>
          <a:off x="234450" y="2213756"/>
          <a:ext cx="11710437" cy="4160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96068">
                  <a:extLst>
                    <a:ext uri="{9D8B030D-6E8A-4147-A177-3AD203B41FA5}">
                      <a16:colId xmlns:a16="http://schemas.microsoft.com/office/drawing/2014/main" val="3347525149"/>
                    </a:ext>
                  </a:extLst>
                </a:gridCol>
                <a:gridCol w="889134">
                  <a:extLst>
                    <a:ext uri="{9D8B030D-6E8A-4147-A177-3AD203B41FA5}">
                      <a16:colId xmlns:a16="http://schemas.microsoft.com/office/drawing/2014/main" val="3252717785"/>
                    </a:ext>
                  </a:extLst>
                </a:gridCol>
                <a:gridCol w="1208327">
                  <a:extLst>
                    <a:ext uri="{9D8B030D-6E8A-4147-A177-3AD203B41FA5}">
                      <a16:colId xmlns:a16="http://schemas.microsoft.com/office/drawing/2014/main" val="1224448240"/>
                    </a:ext>
                  </a:extLst>
                </a:gridCol>
                <a:gridCol w="2758454">
                  <a:extLst>
                    <a:ext uri="{9D8B030D-6E8A-4147-A177-3AD203B41FA5}">
                      <a16:colId xmlns:a16="http://schemas.microsoft.com/office/drawing/2014/main" val="358449491"/>
                    </a:ext>
                  </a:extLst>
                </a:gridCol>
                <a:gridCol w="2758454">
                  <a:extLst>
                    <a:ext uri="{9D8B030D-6E8A-4147-A177-3AD203B41FA5}">
                      <a16:colId xmlns:a16="http://schemas.microsoft.com/office/drawing/2014/main" val="1645571519"/>
                    </a:ext>
                  </a:extLst>
                </a:gridCol>
              </a:tblGrid>
              <a:tr h="121233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ileston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Own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arget Dat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Progress This Week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/Dependenci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490211"/>
                  </a:ext>
                </a:extLst>
              </a:tr>
              <a:tr h="199227">
                <a:tc gridSpan="5"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file Dashboar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010357"/>
                  </a:ext>
                </a:extLst>
              </a:tr>
              <a:tr h="199227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idate numbers for site = 186, correct metric calculation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/data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 validated/feedbacks worked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w metrics are WIP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or data/logic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05720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st all markets data for last 13 months in sandbox table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eries initiated and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gestion is WIP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umes of data and processing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me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060635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witch tableau dashboard to new view and validate metric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t to start 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ailability of the complete data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o switch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1000959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ate glue job to create aggregated view table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ue jobs initiated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views are WIP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umes of data and processing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mes</a:t>
                      </a:r>
                      <a:endParaRPr lang="en-US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3790582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idate numbers for all sites, correct metric calculation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/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t to star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stion of data into the tables</a:t>
                      </a:r>
                      <a:endParaRPr lang="en-US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669221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st offline metrics to tables and dashboard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/data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t to start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veen to confirm source data/logic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795265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se on the pending metric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/data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t to start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veen to confirm source data/logic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617333"/>
                  </a:ext>
                </a:extLst>
              </a:tr>
              <a:tr h="240284">
                <a:tc gridSpan="5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y Dashboar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4506306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idate numbers for site = 186, correct metric calculation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/data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 validated/feedbacks worked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w metrics are WIP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or data/logic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177628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st all markets data for last 13 months in sandbox table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eries initiated and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gestion is WIP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umes of data and processing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me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7077734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witch tableau dashboard to new view and validate metric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t to start 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ailability of the complete data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o switch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10196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ign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ith business on pending derived metrics source/logic</a:t>
                      </a:r>
                      <a:endParaRPr lang="en-US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/Data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t to start 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ailability of the complete data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o switch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7564511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ate glue job to create aggregated view tabl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ue jobs initiated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views are WIP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umes of data and processing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mes</a:t>
                      </a:r>
                      <a:endParaRPr lang="en-US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87065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idate numbers for all sites, correct metric calculations</a:t>
                      </a:r>
                      <a:endParaRPr lang="en-US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/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t to star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stion of data into the tabl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927420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se on the pending metric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/data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t to start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veen to confirm source data/logic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2420445"/>
                  </a:ext>
                </a:extLst>
              </a:tr>
            </a:tbl>
          </a:graphicData>
        </a:graphic>
      </p:graphicFrame>
      <p:sp>
        <p:nvSpPr>
          <p:cNvPr id="66" name="Flowchart: Connector 65"/>
          <p:cNvSpPr/>
          <p:nvPr/>
        </p:nvSpPr>
        <p:spPr>
          <a:xfrm>
            <a:off x="9390837" y="114606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/>
          <p:cNvSpPr/>
          <p:nvPr/>
        </p:nvSpPr>
        <p:spPr>
          <a:xfrm>
            <a:off x="10785526" y="117831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488410" y="70325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gging as Per Pla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10878204" y="67498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n Track as Per Plan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CC6679B6-D679-9FF0-7A95-D2A29E24CD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19608103"/>
              </p:ext>
            </p:extLst>
          </p:nvPr>
        </p:nvGraphicFramePr>
        <p:xfrm>
          <a:off x="586468" y="829131"/>
          <a:ext cx="10691542" cy="8315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FA280F3-21B8-0D16-AF7C-5EB5BAE2E006}"/>
              </a:ext>
            </a:extLst>
          </p:cNvPr>
          <p:cNvCxnSpPr>
            <a:cxnSpLocks/>
          </p:cNvCxnSpPr>
          <p:nvPr/>
        </p:nvCxnSpPr>
        <p:spPr>
          <a:xfrm>
            <a:off x="586468" y="2054300"/>
            <a:ext cx="1078828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B806BED7-3331-1FCD-AEA1-528D85E84368}"/>
              </a:ext>
            </a:extLst>
          </p:cNvPr>
          <p:cNvSpPr/>
          <p:nvPr/>
        </p:nvSpPr>
        <p:spPr>
          <a:xfrm>
            <a:off x="956440" y="1980724"/>
            <a:ext cx="128016" cy="128016"/>
          </a:xfrm>
          <a:prstGeom prst="ellipse">
            <a:avLst/>
          </a:prstGeom>
          <a:solidFill>
            <a:srgbClr val="3DC353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44AD573-0A83-6DDE-E196-F04BABB8268F}"/>
              </a:ext>
            </a:extLst>
          </p:cNvPr>
          <p:cNvSpPr txBox="1"/>
          <p:nvPr/>
        </p:nvSpPr>
        <p:spPr>
          <a:xfrm>
            <a:off x="769075" y="1719114"/>
            <a:ext cx="51488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 4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9ECA5A89-A1CC-3CD0-3A16-02BC751CF777}"/>
              </a:ext>
            </a:extLst>
          </p:cNvPr>
          <p:cNvSpPr/>
          <p:nvPr/>
        </p:nvSpPr>
        <p:spPr>
          <a:xfrm>
            <a:off x="2782774" y="1986228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058A955-3415-10AA-BC13-1CEDDD58E33D}"/>
              </a:ext>
            </a:extLst>
          </p:cNvPr>
          <p:cNvSpPr txBox="1"/>
          <p:nvPr/>
        </p:nvSpPr>
        <p:spPr>
          <a:xfrm>
            <a:off x="2537701" y="1724618"/>
            <a:ext cx="5870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 11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E6B0DC2-DA8D-B8EF-9BCF-F91FFFAACD6D}"/>
              </a:ext>
            </a:extLst>
          </p:cNvPr>
          <p:cNvSpPr/>
          <p:nvPr/>
        </p:nvSpPr>
        <p:spPr>
          <a:xfrm>
            <a:off x="4609108" y="1980724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DD5EA62-C06E-63D1-6087-47ED2E12EAD5}"/>
              </a:ext>
            </a:extLst>
          </p:cNvPr>
          <p:cNvSpPr txBox="1"/>
          <p:nvPr/>
        </p:nvSpPr>
        <p:spPr>
          <a:xfrm>
            <a:off x="4378462" y="1719114"/>
            <a:ext cx="5870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 18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FA2ED53C-88E7-D1A5-5F80-BCD2DB8D8B68}"/>
              </a:ext>
            </a:extLst>
          </p:cNvPr>
          <p:cNvSpPr/>
          <p:nvPr/>
        </p:nvSpPr>
        <p:spPr>
          <a:xfrm>
            <a:off x="6435442" y="1956897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5763A31-9247-B66F-3BEF-B1107347B486}"/>
              </a:ext>
            </a:extLst>
          </p:cNvPr>
          <p:cNvSpPr txBox="1"/>
          <p:nvPr/>
        </p:nvSpPr>
        <p:spPr>
          <a:xfrm>
            <a:off x="6219223" y="1695287"/>
            <a:ext cx="5870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 25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54DC06E-8B4C-92A8-A34A-1F62CB158312}"/>
              </a:ext>
            </a:extLst>
          </p:cNvPr>
          <p:cNvSpPr/>
          <p:nvPr/>
        </p:nvSpPr>
        <p:spPr>
          <a:xfrm>
            <a:off x="8261776" y="1960983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5363342-108F-ED2E-7A5C-A7F7E03D4AA8}"/>
              </a:ext>
            </a:extLst>
          </p:cNvPr>
          <p:cNvSpPr txBox="1"/>
          <p:nvPr/>
        </p:nvSpPr>
        <p:spPr>
          <a:xfrm>
            <a:off x="8059984" y="1699373"/>
            <a:ext cx="50206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ec 2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88F39EDB-B3D1-6DDD-1132-5592EDD44E71}"/>
              </a:ext>
            </a:extLst>
          </p:cNvPr>
          <p:cNvSpPr/>
          <p:nvPr/>
        </p:nvSpPr>
        <p:spPr>
          <a:xfrm>
            <a:off x="10088110" y="1980724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4E52A43-55FC-4CD6-66C7-36BA2A21605E}"/>
              </a:ext>
            </a:extLst>
          </p:cNvPr>
          <p:cNvSpPr txBox="1"/>
          <p:nvPr/>
        </p:nvSpPr>
        <p:spPr>
          <a:xfrm>
            <a:off x="9900745" y="1719114"/>
            <a:ext cx="5870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 11</a:t>
            </a:r>
          </a:p>
        </p:txBody>
      </p:sp>
    </p:spTree>
    <p:extLst>
      <p:ext uri="{BB962C8B-B14F-4D97-AF65-F5344CB8AC3E}">
        <p14:creationId xmlns:p14="http://schemas.microsoft.com/office/powerpoint/2010/main" val="159400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7C1EA-7477-EFD8-ACE4-9AF8A98928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565747-F09D-9734-214B-753C030F96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014" y="85288"/>
            <a:ext cx="11531969" cy="463610"/>
          </a:xfrm>
        </p:spPr>
        <p:txBody>
          <a:bodyPr/>
          <a:lstStyle/>
          <a:p>
            <a:r>
              <a:rPr lang="en-US" sz="2800" dirty="0">
                <a:latin typeface="+mj-lt"/>
                <a:cs typeface="Arial" panose="020B0604020202020204" pitchFamily="34" charset="0"/>
              </a:rPr>
              <a:t>CIAM Project Status – </a:t>
            </a:r>
            <a:r>
              <a:rPr lang="en-US" sz="2800" dirty="0" smtClean="0">
                <a:latin typeface="+mj-lt"/>
                <a:cs typeface="Arial" panose="020B0604020202020204" pitchFamily="34" charset="0"/>
              </a:rPr>
              <a:t>08</a:t>
            </a:r>
            <a:r>
              <a:rPr lang="en-US" sz="2800" baseline="30000" dirty="0" smtClean="0">
                <a:latin typeface="+mj-lt"/>
                <a:cs typeface="Arial" panose="020B0604020202020204" pitchFamily="34" charset="0"/>
              </a:rPr>
              <a:t>th</a:t>
            </a:r>
            <a:r>
              <a:rPr lang="en-US" sz="2800" dirty="0" smtClean="0">
                <a:latin typeface="+mj-lt"/>
                <a:cs typeface="Arial" panose="020B0604020202020204" pitchFamily="34" charset="0"/>
              </a:rPr>
              <a:t> November </a:t>
            </a:r>
            <a:r>
              <a:rPr lang="en-US" sz="2800" dirty="0">
                <a:latin typeface="+mj-lt"/>
                <a:cs typeface="Arial" panose="020B0604020202020204" pitchFamily="34" charset="0"/>
              </a:rPr>
              <a:t>2024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DAA894-E806-37E0-20B3-822428189F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A9BAA1-7ABE-0E8B-2CE7-909155A05F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1FC0FC96-470A-D740-8E2E-5B2DC8D38E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4035415"/>
              </p:ext>
            </p:extLst>
          </p:nvPr>
        </p:nvGraphicFramePr>
        <p:xfrm>
          <a:off x="323272" y="787739"/>
          <a:ext cx="11443855" cy="5480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8639">
                  <a:extLst>
                    <a:ext uri="{9D8B030D-6E8A-4147-A177-3AD203B41FA5}">
                      <a16:colId xmlns:a16="http://schemas.microsoft.com/office/drawing/2014/main" val="3347525149"/>
                    </a:ext>
                  </a:extLst>
                </a:gridCol>
                <a:gridCol w="5343144">
                  <a:extLst>
                    <a:ext uri="{9D8B030D-6E8A-4147-A177-3AD203B41FA5}">
                      <a16:colId xmlns:a16="http://schemas.microsoft.com/office/drawing/2014/main" val="3745118659"/>
                    </a:ext>
                  </a:extLst>
                </a:gridCol>
                <a:gridCol w="1108363">
                  <a:extLst>
                    <a:ext uri="{9D8B030D-6E8A-4147-A177-3AD203B41FA5}">
                      <a16:colId xmlns:a16="http://schemas.microsoft.com/office/drawing/2014/main" val="3252717785"/>
                    </a:ext>
                  </a:extLst>
                </a:gridCol>
                <a:gridCol w="868218">
                  <a:extLst>
                    <a:ext uri="{9D8B030D-6E8A-4147-A177-3AD203B41FA5}">
                      <a16:colId xmlns:a16="http://schemas.microsoft.com/office/drawing/2014/main" val="1224448240"/>
                    </a:ext>
                  </a:extLst>
                </a:gridCol>
                <a:gridCol w="2715491">
                  <a:extLst>
                    <a:ext uri="{9D8B030D-6E8A-4147-A177-3AD203B41FA5}">
                      <a16:colId xmlns:a16="http://schemas.microsoft.com/office/drawing/2014/main" val="1645571519"/>
                    </a:ext>
                  </a:extLst>
                </a:gridCol>
              </a:tblGrid>
              <a:tr h="283775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abl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Pending Task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Own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arget 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/Dependenci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490211"/>
                  </a:ext>
                </a:extLst>
              </a:tr>
              <a:tr h="275429">
                <a:tc>
                  <a:txBody>
                    <a:bodyPr/>
                    <a:lstStyle/>
                    <a:p>
                      <a:r>
                        <a:rPr lang="en-US" sz="105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ount Di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i="1" dirty="0">
                          <a:solidFill>
                            <a:srgbClr val="FF0000"/>
                          </a:solidFill>
                        </a:rPr>
                        <a:t>Here we can fill individual metric/column level gap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010357"/>
                  </a:ext>
                </a:extLst>
              </a:tr>
              <a:tr h="275429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pesh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05720"/>
                  </a:ext>
                </a:extLst>
              </a:tr>
              <a:tr h="275429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060635"/>
                  </a:ext>
                </a:extLst>
              </a:tr>
              <a:tr h="275429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ita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1000959"/>
                  </a:ext>
                </a:extLst>
              </a:tr>
              <a:tr h="275429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669221"/>
                  </a:ext>
                </a:extLst>
              </a:tr>
              <a:tr h="275429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veen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veen to confirm source 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795265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617333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file Di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stion of data of 13 months is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 progress and timing out in Athena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ital/Gokul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X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Account Dim) records are to be ingested into AWS, Athen is timing out</a:t>
                      </a:r>
                      <a:endParaRPr lang="en-US" sz="105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817981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m is working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o ingest data in batches/partitions and other alternatives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ital/Goku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rease Athena time out as an exception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7932402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512792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120984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obe Daily Fac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as ingested without the time key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ital/Goku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2054472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0844665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108134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h Daily Fac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as ingested without the time key</a:t>
                      </a:r>
                      <a:endParaRPr lang="en-US" sz="105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ital/Goku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983608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1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8909212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h User Fac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as ingested without the time key</a:t>
                      </a:r>
                      <a:endParaRPr lang="en-US" sz="105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ital/Goku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192651"/>
                  </a:ext>
                </a:extLst>
              </a:tr>
            </a:tbl>
          </a:graphicData>
        </a:graphic>
      </p:graphicFrame>
      <p:sp>
        <p:nvSpPr>
          <p:cNvPr id="66" name="Flowchart: Connector 65">
            <a:extLst>
              <a:ext uri="{FF2B5EF4-FFF2-40B4-BE49-F238E27FC236}">
                <a16:creationId xmlns:a16="http://schemas.microsoft.com/office/drawing/2014/main" id="{43422150-0BEA-758F-310B-B3DC2D2B0E6E}"/>
              </a:ext>
            </a:extLst>
          </p:cNvPr>
          <p:cNvSpPr/>
          <p:nvPr/>
        </p:nvSpPr>
        <p:spPr>
          <a:xfrm>
            <a:off x="9390837" y="114606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>
            <a:extLst>
              <a:ext uri="{FF2B5EF4-FFF2-40B4-BE49-F238E27FC236}">
                <a16:creationId xmlns:a16="http://schemas.microsoft.com/office/drawing/2014/main" id="{11407D37-265B-246A-2F5F-AAFADA542028}"/>
              </a:ext>
            </a:extLst>
          </p:cNvPr>
          <p:cNvSpPr/>
          <p:nvPr/>
        </p:nvSpPr>
        <p:spPr>
          <a:xfrm>
            <a:off x="10785526" y="117831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6D56523-2397-7D97-BED2-6B70527C6BDC}"/>
              </a:ext>
            </a:extLst>
          </p:cNvPr>
          <p:cNvSpPr txBox="1"/>
          <p:nvPr/>
        </p:nvSpPr>
        <p:spPr>
          <a:xfrm>
            <a:off x="9488410" y="70325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gging as Per Plan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6B006EF-6F39-65EC-E27D-CE003265D113}"/>
              </a:ext>
            </a:extLst>
          </p:cNvPr>
          <p:cNvSpPr txBox="1"/>
          <p:nvPr/>
        </p:nvSpPr>
        <p:spPr>
          <a:xfrm>
            <a:off x="10878204" y="67498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n Track as Per Plan</a:t>
            </a:r>
          </a:p>
        </p:txBody>
      </p:sp>
    </p:spTree>
    <p:extLst>
      <p:ext uri="{BB962C8B-B14F-4D97-AF65-F5344CB8AC3E}">
        <p14:creationId xmlns:p14="http://schemas.microsoft.com/office/powerpoint/2010/main" val="32785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55" y="167678"/>
            <a:ext cx="11531969" cy="463610"/>
          </a:xfrm>
        </p:spPr>
        <p:txBody>
          <a:bodyPr/>
          <a:lstStyle/>
          <a:p>
            <a:r>
              <a:rPr lang="en-US" sz="2800" dirty="0" smtClean="0">
                <a:latin typeface="+mj-lt"/>
                <a:cs typeface="Arial" panose="020B0604020202020204" pitchFamily="34" charset="0"/>
              </a:rPr>
              <a:t>CIAM Dashboard Status 08</a:t>
            </a:r>
            <a:r>
              <a:rPr lang="en-US" sz="2800" baseline="30000" dirty="0" smtClean="0">
                <a:latin typeface="+mj-lt"/>
                <a:cs typeface="Arial" panose="020B0604020202020204" pitchFamily="34" charset="0"/>
              </a:rPr>
              <a:t>th</a:t>
            </a:r>
            <a:r>
              <a:rPr lang="en-US" sz="2800" dirty="0" smtClean="0">
                <a:latin typeface="+mj-lt"/>
                <a:cs typeface="Arial" panose="020B0604020202020204" pitchFamily="34" charset="0"/>
              </a:rPr>
              <a:t> November </a:t>
            </a:r>
            <a:r>
              <a:rPr lang="en-US" sz="2800" dirty="0">
                <a:latin typeface="+mj-lt"/>
                <a:cs typeface="Arial" panose="020B0604020202020204" pitchFamily="34" charset="0"/>
              </a:rPr>
              <a:t>2024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 bwMode="auto">
          <a:xfrm>
            <a:off x="-2231" y="734594"/>
            <a:ext cx="7772400" cy="274320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ekly Key Headlines</a:t>
            </a:r>
          </a:p>
        </p:txBody>
      </p:sp>
      <p:sp>
        <p:nvSpPr>
          <p:cNvPr id="51" name="Rectangle 50"/>
          <p:cNvSpPr/>
          <p:nvPr/>
        </p:nvSpPr>
        <p:spPr bwMode="auto">
          <a:xfrm>
            <a:off x="5070756" y="2878695"/>
            <a:ext cx="7121237" cy="274320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coming Week Key Activities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16242" y="4421688"/>
            <a:ext cx="12161520" cy="241886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s &amp; Issues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9910618" y="691838"/>
          <a:ext cx="2281382" cy="2286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40691">
                  <a:extLst>
                    <a:ext uri="{9D8B030D-6E8A-4147-A177-3AD203B41FA5}">
                      <a16:colId xmlns:a16="http://schemas.microsoft.com/office/drawing/2014/main" val="1579312854"/>
                    </a:ext>
                  </a:extLst>
                </a:gridCol>
                <a:gridCol w="1140691">
                  <a:extLst>
                    <a:ext uri="{9D8B030D-6E8A-4147-A177-3AD203B41FA5}">
                      <a16:colId xmlns:a16="http://schemas.microsoft.com/office/drawing/2014/main" val="2294863911"/>
                    </a:ext>
                  </a:extLst>
                </a:gridCol>
              </a:tblGrid>
              <a:tr h="21468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Project Pha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EXECU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50921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9910618" y="-6"/>
          <a:ext cx="2281383" cy="685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0727">
                  <a:extLst>
                    <a:ext uri="{9D8B030D-6E8A-4147-A177-3AD203B41FA5}">
                      <a16:colId xmlns:a16="http://schemas.microsoft.com/office/drawing/2014/main" val="2257054818"/>
                    </a:ext>
                  </a:extLst>
                </a:gridCol>
                <a:gridCol w="600364">
                  <a:extLst>
                    <a:ext uri="{9D8B030D-6E8A-4147-A177-3AD203B41FA5}">
                      <a16:colId xmlns:a16="http://schemas.microsoft.com/office/drawing/2014/main" val="381541583"/>
                    </a:ext>
                  </a:extLst>
                </a:gridCol>
                <a:gridCol w="480292">
                  <a:extLst>
                    <a:ext uri="{9D8B030D-6E8A-4147-A177-3AD203B41FA5}">
                      <a16:colId xmlns:a16="http://schemas.microsoft.com/office/drawing/2014/main" val="521123419"/>
                    </a:ext>
                  </a:extLst>
                </a:gridCol>
              </a:tblGrid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chedule</a:t>
                      </a:r>
                      <a:r>
                        <a:rPr lang="en-US" baseline="0" dirty="0">
                          <a:solidFill>
                            <a:schemeClr val="tx1"/>
                          </a:solidFill>
                        </a:rPr>
                        <a:t> Health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Lagging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778357"/>
                  </a:ext>
                </a:extLst>
              </a:tr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udget</a:t>
                      </a:r>
                      <a:r>
                        <a:rPr lang="en-US" baseline="0" dirty="0">
                          <a:solidFill>
                            <a:schemeClr val="tx1"/>
                          </a:solidFill>
                        </a:rPr>
                        <a:t> Health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On Track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5162980"/>
                  </a:ext>
                </a:extLst>
              </a:tr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cope Health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efined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470563"/>
                  </a:ext>
                </a:extLst>
              </a:tr>
            </a:tbl>
          </a:graphicData>
        </a:graphic>
      </p:graphicFrame>
      <p:sp>
        <p:nvSpPr>
          <p:cNvPr id="16" name="Flowchart: Connector 15"/>
          <p:cNvSpPr/>
          <p:nvPr/>
        </p:nvSpPr>
        <p:spPr>
          <a:xfrm>
            <a:off x="11880273" y="46175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Flowchart: Connector 56"/>
          <p:cNvSpPr/>
          <p:nvPr/>
        </p:nvSpPr>
        <p:spPr>
          <a:xfrm>
            <a:off x="11880273" y="279385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Flowchart: Connector 57"/>
          <p:cNvSpPr/>
          <p:nvPr/>
        </p:nvSpPr>
        <p:spPr>
          <a:xfrm>
            <a:off x="11880273" y="503359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/>
          </p:nvPr>
        </p:nvGraphicFramePr>
        <p:xfrm>
          <a:off x="5070756" y="3166650"/>
          <a:ext cx="7121236" cy="12215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8515">
                  <a:extLst>
                    <a:ext uri="{9D8B030D-6E8A-4147-A177-3AD203B41FA5}">
                      <a16:colId xmlns:a16="http://schemas.microsoft.com/office/drawing/2014/main" val="789816936"/>
                    </a:ext>
                  </a:extLst>
                </a:gridCol>
                <a:gridCol w="692727">
                  <a:extLst>
                    <a:ext uri="{9D8B030D-6E8A-4147-A177-3AD203B41FA5}">
                      <a16:colId xmlns:a16="http://schemas.microsoft.com/office/drawing/2014/main" val="3347525149"/>
                    </a:ext>
                  </a:extLst>
                </a:gridCol>
                <a:gridCol w="1080649">
                  <a:extLst>
                    <a:ext uri="{9D8B030D-6E8A-4147-A177-3AD203B41FA5}">
                      <a16:colId xmlns:a16="http://schemas.microsoft.com/office/drawing/2014/main" val="3252717785"/>
                    </a:ext>
                  </a:extLst>
                </a:gridCol>
                <a:gridCol w="1459345">
                  <a:extLst>
                    <a:ext uri="{9D8B030D-6E8A-4147-A177-3AD203B41FA5}">
                      <a16:colId xmlns:a16="http://schemas.microsoft.com/office/drawing/2014/main" val="1224448240"/>
                    </a:ext>
                  </a:extLst>
                </a:gridCol>
              </a:tblGrid>
              <a:tr h="250804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Key Activiti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Own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arget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at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490211"/>
                  </a:ext>
                </a:extLst>
              </a:tr>
              <a:tr h="481249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idation of 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metrics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 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 data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 available now and creation of calculated field views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Tea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en-US" sz="105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ember 2024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2914759"/>
                  </a:ext>
                </a:extLst>
              </a:tr>
              <a:tr h="481249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pping &amp; 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alidation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 KPIs/Metrics on Tableau Dashboard, Finishing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Dashboards Design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 Team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  <a:r>
                        <a:rPr lang="en-US" sz="105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er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05720"/>
                  </a:ext>
                </a:extLst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0" y="1006769"/>
            <a:ext cx="7770169" cy="1869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Data team has received the access for the complete data and in the process of data and aggregated metrics validation </a:t>
            </a:r>
            <a:r>
              <a:rPr lang="en-US" sz="1050" i="1" dirty="0">
                <a:latin typeface="Arial" panose="020B0604020202020204" pitchFamily="34" charset="0"/>
                <a:cs typeface="Arial" panose="020B0604020202020204" pitchFamily="34" charset="0"/>
              </a:rPr>
              <a:t>(Target 08th November 2024)</a:t>
            </a:r>
          </a:p>
          <a:p>
            <a:pPr marL="800089" lvl="1" indent="-342900">
              <a:buFont typeface="Wingdings" panose="05000000000000000000" pitchFamily="2" charset="2"/>
              <a:buChar char="§"/>
            </a:pP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Original the target date for data validation was 30</a:t>
            </a:r>
            <a:r>
              <a:rPr lang="en-US" sz="105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October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2024 but currently team is facing delays due to</a:t>
            </a:r>
          </a:p>
          <a:p>
            <a:pPr marL="1257277" lvl="2" indent="-342900">
              <a:buFont typeface="Courier New" panose="02070309020205020404" pitchFamily="49" charset="0"/>
              <a:buChar char="o"/>
            </a:pP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Aggregation queries failing in Athena due to high volumes of data </a:t>
            </a:r>
          </a:p>
          <a:p>
            <a:pPr marL="1257277" lvl="2" indent="-342900">
              <a:buFont typeface="Courier New" panose="02070309020205020404" pitchFamily="49" charset="0"/>
              <a:buChar char="o"/>
            </a:pPr>
            <a:r>
              <a:rPr 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t>Mobile app data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tables are missing and Cox team is helping us get access to the same</a:t>
            </a: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BI Team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is continuing with enhancing the Tableau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dashboards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basis the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actual data tables </a:t>
            </a:r>
            <a:endParaRPr lang="en-US" sz="10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i="1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050" i="1" dirty="0">
                <a:latin typeface="Arial" panose="020B0604020202020204" pitchFamily="34" charset="0"/>
                <a:cs typeface="Arial" panose="020B0604020202020204" pitchFamily="34" charset="0"/>
              </a:rPr>
              <a:t>Target 08th November 2024)</a:t>
            </a:r>
            <a:endParaRPr lang="en-US" sz="1050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089" lvl="1" indent="-342900">
              <a:buFont typeface="Wingdings" panose="05000000000000000000" pitchFamily="2" charset="2"/>
              <a:buChar char="§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Challenge is that the calculated fields and custom queries slowing down the dashboard refresh time</a:t>
            </a:r>
          </a:p>
          <a:p>
            <a:pPr marL="1257277" lvl="2" indent="-342900">
              <a:buFont typeface="Courier New" panose="02070309020205020404" pitchFamily="49" charset="0"/>
              <a:buChar char="o"/>
            </a:pP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Team is working with the option to create calculated fields view at source level only to reduce refresh time</a:t>
            </a:r>
          </a:p>
          <a:p>
            <a:pPr marL="1257277" lvl="2" indent="-342900">
              <a:buFont typeface="Courier New" panose="02070309020205020404" pitchFamily="49" charset="0"/>
              <a:buChar char="o"/>
            </a:pP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Refining visuals iteratively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basis the business feedback and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new data availability</a:t>
            </a: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validation with the Praveen for all the identified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metrics/additional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KPIs to be included as part of the model (Ongoing)</a:t>
            </a:r>
          </a:p>
        </p:txBody>
      </p:sp>
      <p:sp>
        <p:nvSpPr>
          <p:cNvPr id="61" name="Flowchart: Connector 60"/>
          <p:cNvSpPr/>
          <p:nvPr/>
        </p:nvSpPr>
        <p:spPr>
          <a:xfrm>
            <a:off x="9210273" y="3580520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Flowchart: Connector 64"/>
          <p:cNvSpPr/>
          <p:nvPr/>
        </p:nvSpPr>
        <p:spPr>
          <a:xfrm>
            <a:off x="9210273" y="4064745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lowchart: Connector 65"/>
          <p:cNvSpPr/>
          <p:nvPr/>
        </p:nvSpPr>
        <p:spPr>
          <a:xfrm>
            <a:off x="9394764" y="1027419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/>
          <p:cNvSpPr/>
          <p:nvPr/>
        </p:nvSpPr>
        <p:spPr>
          <a:xfrm>
            <a:off x="10789453" y="1020134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/>
          </p:nvPr>
        </p:nvGraphicFramePr>
        <p:xfrm>
          <a:off x="8062271" y="1265707"/>
          <a:ext cx="4119418" cy="149642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119418">
                  <a:extLst>
                    <a:ext uri="{9D8B030D-6E8A-4147-A177-3AD203B41FA5}">
                      <a16:colId xmlns:a16="http://schemas.microsoft.com/office/drawing/2014/main" val="644725935"/>
                    </a:ext>
                  </a:extLst>
                </a:gridCol>
              </a:tblGrid>
              <a:tr h="278995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 Objectiv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914404"/>
                  </a:ext>
                </a:extLst>
              </a:tr>
              <a:tr h="1217431">
                <a:tc>
                  <a:txBody>
                    <a:bodyPr/>
                    <a:lstStyle/>
                    <a:p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AM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shboard: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de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pport on building an integrated data staging layer &amp; Tableau dashboards with integration to AWS S3 with Snowflake &amp; Adobe as the source of the data to drive and integrated data layer for better BI &amp; Insights, Auto extraction of information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d design ETL procedures to create Customer and Customer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ctivity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evel views in Tableau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513304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9534377" y="972628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gging as Per Pla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11017907" y="947841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n Track as Per Plan</a:t>
            </a: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/>
          </p:nvPr>
        </p:nvGraphicFramePr>
        <p:xfrm>
          <a:off x="13853" y="4719196"/>
          <a:ext cx="12163910" cy="14941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3529">
                  <a:extLst>
                    <a:ext uri="{9D8B030D-6E8A-4147-A177-3AD203B41FA5}">
                      <a16:colId xmlns:a16="http://schemas.microsoft.com/office/drawing/2014/main" val="3485745838"/>
                    </a:ext>
                  </a:extLst>
                </a:gridCol>
                <a:gridCol w="1126836">
                  <a:extLst>
                    <a:ext uri="{9D8B030D-6E8A-4147-A177-3AD203B41FA5}">
                      <a16:colId xmlns:a16="http://schemas.microsoft.com/office/drawing/2014/main" val="1933349237"/>
                    </a:ext>
                  </a:extLst>
                </a:gridCol>
                <a:gridCol w="4276437">
                  <a:extLst>
                    <a:ext uri="{9D8B030D-6E8A-4147-A177-3AD203B41FA5}">
                      <a16:colId xmlns:a16="http://schemas.microsoft.com/office/drawing/2014/main" val="873321475"/>
                    </a:ext>
                  </a:extLst>
                </a:gridCol>
                <a:gridCol w="1366981">
                  <a:extLst>
                    <a:ext uri="{9D8B030D-6E8A-4147-A177-3AD203B41FA5}">
                      <a16:colId xmlns:a16="http://schemas.microsoft.com/office/drawing/2014/main" val="73775240"/>
                    </a:ext>
                  </a:extLst>
                </a:gridCol>
                <a:gridCol w="4650127">
                  <a:extLst>
                    <a:ext uri="{9D8B030D-6E8A-4147-A177-3AD203B41FA5}">
                      <a16:colId xmlns:a16="http://schemas.microsoft.com/office/drawing/2014/main" val="2160433153"/>
                    </a:ext>
                  </a:extLst>
                </a:gridCol>
              </a:tblGrid>
              <a:tr h="305386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/I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VERITY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NED DATE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TIGATION/UPDATES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8391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TL Glue Jobs Configuration,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ing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amp; Deployment environment for enabling the continuous data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stion and integration  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/23/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m is testing out the AWS glue crawlers and job scheduling basis the current access to identify/mitigate any challenges early  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46347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quality and validation of the complete data set, any data issues may delay the timelines as the access 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s delayed and in progress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/23/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m is iteratively validating the new data and data refresh to ensure the data integrity and values are in line with business understanding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06330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going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ta validation and alignment to the business logic/metrics leading to iterative development/changes of the BI dashboard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07/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laborating with Praveen/Cox Teams to get the business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puts and vision for continuous improvements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9428420"/>
                  </a:ext>
                </a:extLst>
              </a:tr>
            </a:tbl>
          </a:graphicData>
        </a:graphic>
      </p:graphicFrame>
      <p:sp>
        <p:nvSpPr>
          <p:cNvPr id="5" name="Flowchart: Connector 4">
            <a:extLst>
              <a:ext uri="{FF2B5EF4-FFF2-40B4-BE49-F238E27FC236}">
                <a16:creationId xmlns:a16="http://schemas.microsoft.com/office/drawing/2014/main" id="{6BEE68F1-BCB3-CB2B-A7FC-CB9CA9606B95}"/>
              </a:ext>
            </a:extLst>
          </p:cNvPr>
          <p:cNvSpPr/>
          <p:nvPr/>
        </p:nvSpPr>
        <p:spPr>
          <a:xfrm>
            <a:off x="7285715" y="5137885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95A7C292-1C66-DA31-D677-B46B6C5FC639}"/>
              </a:ext>
            </a:extLst>
          </p:cNvPr>
          <p:cNvSpPr/>
          <p:nvPr/>
        </p:nvSpPr>
        <p:spPr>
          <a:xfrm>
            <a:off x="7285715" y="5555918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lowchart: Connector 6">
            <a:extLst>
              <a:ext uri="{FF2B5EF4-FFF2-40B4-BE49-F238E27FC236}">
                <a16:creationId xmlns:a16="http://schemas.microsoft.com/office/drawing/2014/main" id="{B071765B-C6D6-92A3-221A-9875D56950B8}"/>
              </a:ext>
            </a:extLst>
          </p:cNvPr>
          <p:cNvSpPr/>
          <p:nvPr/>
        </p:nvSpPr>
        <p:spPr>
          <a:xfrm>
            <a:off x="7285715" y="5941465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9040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55" y="167678"/>
            <a:ext cx="11531969" cy="463610"/>
          </a:xfrm>
        </p:spPr>
        <p:txBody>
          <a:bodyPr/>
          <a:lstStyle/>
          <a:p>
            <a:r>
              <a:rPr lang="en-US" sz="2800" dirty="0">
                <a:latin typeface="+mj-lt"/>
                <a:cs typeface="Arial" panose="020B0604020202020204" pitchFamily="34" charset="0"/>
              </a:rPr>
              <a:t>CIAM Dashboard Status </a:t>
            </a:r>
            <a:r>
              <a:rPr lang="en-US" sz="2800" dirty="0" smtClean="0">
                <a:latin typeface="+mj-lt"/>
                <a:cs typeface="Arial" panose="020B0604020202020204" pitchFamily="34" charset="0"/>
              </a:rPr>
              <a:t>08</a:t>
            </a:r>
            <a:r>
              <a:rPr lang="en-US" sz="2800" baseline="30000" dirty="0" smtClean="0">
                <a:latin typeface="+mj-lt"/>
                <a:cs typeface="Arial" panose="020B0604020202020204" pitchFamily="34" charset="0"/>
              </a:rPr>
              <a:t>th</a:t>
            </a:r>
            <a:r>
              <a:rPr lang="en-US" sz="2800" dirty="0" smtClean="0">
                <a:latin typeface="+mj-lt"/>
                <a:cs typeface="Arial" panose="020B0604020202020204" pitchFamily="34" charset="0"/>
              </a:rPr>
              <a:t> November </a:t>
            </a:r>
            <a:r>
              <a:rPr lang="en-US" sz="2800" dirty="0">
                <a:latin typeface="+mj-lt"/>
                <a:cs typeface="Arial" panose="020B0604020202020204" pitchFamily="34" charset="0"/>
              </a:rPr>
              <a:t>2024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 bwMode="auto">
          <a:xfrm>
            <a:off x="-2231" y="836194"/>
            <a:ext cx="7772401" cy="272136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ekly Key Headlines</a:t>
            </a:r>
          </a:p>
        </p:txBody>
      </p:sp>
      <p:sp>
        <p:nvSpPr>
          <p:cNvPr id="51" name="Rectangle 50"/>
          <p:cNvSpPr/>
          <p:nvPr/>
        </p:nvSpPr>
        <p:spPr bwMode="auto">
          <a:xfrm>
            <a:off x="5058975" y="3035629"/>
            <a:ext cx="7121237" cy="274320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coming Week Key Activities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21244" y="4781897"/>
            <a:ext cx="12161520" cy="274320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s &amp; Issues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9910618" y="691838"/>
          <a:ext cx="2281382" cy="2286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40691">
                  <a:extLst>
                    <a:ext uri="{9D8B030D-6E8A-4147-A177-3AD203B41FA5}">
                      <a16:colId xmlns:a16="http://schemas.microsoft.com/office/drawing/2014/main" val="1579312854"/>
                    </a:ext>
                  </a:extLst>
                </a:gridCol>
                <a:gridCol w="1140691">
                  <a:extLst>
                    <a:ext uri="{9D8B030D-6E8A-4147-A177-3AD203B41FA5}">
                      <a16:colId xmlns:a16="http://schemas.microsoft.com/office/drawing/2014/main" val="2294863911"/>
                    </a:ext>
                  </a:extLst>
                </a:gridCol>
              </a:tblGrid>
              <a:tr h="21468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Project Pha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EXECU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50921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9910618" y="-6"/>
          <a:ext cx="2281383" cy="685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0727">
                  <a:extLst>
                    <a:ext uri="{9D8B030D-6E8A-4147-A177-3AD203B41FA5}">
                      <a16:colId xmlns:a16="http://schemas.microsoft.com/office/drawing/2014/main" val="2257054818"/>
                    </a:ext>
                  </a:extLst>
                </a:gridCol>
                <a:gridCol w="600364">
                  <a:extLst>
                    <a:ext uri="{9D8B030D-6E8A-4147-A177-3AD203B41FA5}">
                      <a16:colId xmlns:a16="http://schemas.microsoft.com/office/drawing/2014/main" val="381541583"/>
                    </a:ext>
                  </a:extLst>
                </a:gridCol>
                <a:gridCol w="480292">
                  <a:extLst>
                    <a:ext uri="{9D8B030D-6E8A-4147-A177-3AD203B41FA5}">
                      <a16:colId xmlns:a16="http://schemas.microsoft.com/office/drawing/2014/main" val="521123419"/>
                    </a:ext>
                  </a:extLst>
                </a:gridCol>
              </a:tblGrid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chedule</a:t>
                      </a:r>
                      <a:r>
                        <a:rPr lang="en-US" baseline="0" dirty="0">
                          <a:solidFill>
                            <a:schemeClr val="tx1"/>
                          </a:solidFill>
                        </a:rPr>
                        <a:t> Health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Lagging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778357"/>
                  </a:ext>
                </a:extLst>
              </a:tr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udget</a:t>
                      </a:r>
                      <a:r>
                        <a:rPr lang="en-US" baseline="0" dirty="0">
                          <a:solidFill>
                            <a:schemeClr val="tx1"/>
                          </a:solidFill>
                        </a:rPr>
                        <a:t> Health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On Track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5162980"/>
                  </a:ext>
                </a:extLst>
              </a:tr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cope Health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efined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470563"/>
                  </a:ext>
                </a:extLst>
              </a:tr>
            </a:tbl>
          </a:graphicData>
        </a:graphic>
      </p:graphicFrame>
      <p:sp>
        <p:nvSpPr>
          <p:cNvPr id="16" name="Flowchart: Connector 15"/>
          <p:cNvSpPr/>
          <p:nvPr/>
        </p:nvSpPr>
        <p:spPr>
          <a:xfrm>
            <a:off x="11880273" y="46175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Flowchart: Connector 56"/>
          <p:cNvSpPr/>
          <p:nvPr/>
        </p:nvSpPr>
        <p:spPr>
          <a:xfrm>
            <a:off x="11880273" y="270149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Flowchart: Connector 57"/>
          <p:cNvSpPr/>
          <p:nvPr/>
        </p:nvSpPr>
        <p:spPr>
          <a:xfrm>
            <a:off x="11880273" y="494123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/>
          </p:nvPr>
        </p:nvGraphicFramePr>
        <p:xfrm>
          <a:off x="5058974" y="3318651"/>
          <a:ext cx="7121237" cy="13641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80874">
                  <a:extLst>
                    <a:ext uri="{9D8B030D-6E8A-4147-A177-3AD203B41FA5}">
                      <a16:colId xmlns:a16="http://schemas.microsoft.com/office/drawing/2014/main" val="789816936"/>
                    </a:ext>
                  </a:extLst>
                </a:gridCol>
                <a:gridCol w="628073">
                  <a:extLst>
                    <a:ext uri="{9D8B030D-6E8A-4147-A177-3AD203B41FA5}">
                      <a16:colId xmlns:a16="http://schemas.microsoft.com/office/drawing/2014/main" val="3347525149"/>
                    </a:ext>
                  </a:extLst>
                </a:gridCol>
                <a:gridCol w="951346">
                  <a:extLst>
                    <a:ext uri="{9D8B030D-6E8A-4147-A177-3AD203B41FA5}">
                      <a16:colId xmlns:a16="http://schemas.microsoft.com/office/drawing/2014/main" val="3252717785"/>
                    </a:ext>
                  </a:extLst>
                </a:gridCol>
                <a:gridCol w="1560944">
                  <a:extLst>
                    <a:ext uri="{9D8B030D-6E8A-4147-A177-3AD203B41FA5}">
                      <a16:colId xmlns:a16="http://schemas.microsoft.com/office/drawing/2014/main" val="1224448240"/>
                    </a:ext>
                  </a:extLst>
                </a:gridCol>
              </a:tblGrid>
              <a:tr h="192994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Key Activiti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Own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arget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at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490211"/>
                  </a:ext>
                </a:extLst>
              </a:tr>
              <a:tr h="207085"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pulating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validation of the sub metrics into the sub metric column and calculated columns for 7 days/30 day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en-US" sz="105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ember 2024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060635"/>
                  </a:ext>
                </a:extLst>
              </a:tr>
              <a:tr h="282092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plore the OMNI Db table and add a new metric and validat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Team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en-US" sz="105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er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6300547"/>
                  </a:ext>
                </a:extLst>
              </a:tr>
              <a:tr h="282092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pping &amp; Values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alidation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KPIs/Metrics on Tableau Dashboard, Finishing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Dashboards Design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 Team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  <a:r>
                        <a:rPr lang="en-US" sz="105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ember 2024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2883678"/>
                  </a:ext>
                </a:extLst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-2231" y="1120922"/>
            <a:ext cx="7659175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Data Team has created the ETL Glue jobs to automate the data transformation basis the requirement for Tableau dashboard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to reduce the load on visualization layer and make it more robust to changes </a:t>
            </a:r>
            <a:r>
              <a:rPr lang="en-US" sz="1050" i="1" dirty="0">
                <a:latin typeface="Arial" panose="020B0604020202020204" pitchFamily="34" charset="0"/>
                <a:cs typeface="Arial" panose="020B0604020202020204" pitchFamily="34" charset="0"/>
              </a:rPr>
              <a:t>(Target 08th November 2024</a:t>
            </a:r>
            <a:r>
              <a:rPr lang="en-US" sz="1050" i="1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0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Data team has created below data model for Health Scorecard Dashboard with 4 Tables </a:t>
            </a:r>
            <a:r>
              <a:rPr lang="en-US" sz="1050" i="1" dirty="0">
                <a:latin typeface="Arial" panose="020B0604020202020204" pitchFamily="34" charset="0"/>
                <a:cs typeface="Arial" panose="020B0604020202020204" pitchFamily="34" charset="0"/>
              </a:rPr>
              <a:t>(Target 08th November 2024</a:t>
            </a:r>
            <a:r>
              <a:rPr lang="en-US" sz="1050" i="1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0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089" lvl="1" indent="-342900">
              <a:buFont typeface="Wingdings" panose="05000000000000000000" pitchFamily="2" charset="2"/>
              <a:buChar char="§"/>
            </a:pPr>
            <a:r>
              <a:rPr lang="en-US" sz="105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C_Mapping_Master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 – Complete – Mapping IDs for each metric and OS Type</a:t>
            </a:r>
          </a:p>
          <a:p>
            <a:pPr marL="800089" lvl="1" indent="-342900">
              <a:buFont typeface="Wingdings" panose="05000000000000000000" pitchFamily="2" charset="2"/>
              <a:buChar char="§"/>
            </a:pPr>
            <a:r>
              <a:rPr lang="en-US" sz="105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C_Source_Data_Actual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 – Complete – Actual data from source tables with the raw values</a:t>
            </a:r>
          </a:p>
          <a:p>
            <a:pPr marL="800089" lvl="1" indent="-342900">
              <a:buFont typeface="Wingdings" panose="05000000000000000000" pitchFamily="2" charset="2"/>
              <a:buChar char="§"/>
            </a:pPr>
            <a:r>
              <a:rPr lang="en-US" sz="105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C_Source_Data_Calc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  – WIP – Calculated metrics &amp; sub metrics data (Sub Metrics calculation are WIP)</a:t>
            </a:r>
          </a:p>
          <a:p>
            <a:pPr marL="800089" lvl="1" indent="-342900">
              <a:buFont typeface="Wingdings" panose="05000000000000000000" pitchFamily="2" charset="2"/>
              <a:buChar char="§"/>
            </a:pPr>
            <a:r>
              <a:rPr lang="en-US" sz="105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C_DB_Metrics_Cal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WIP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 Calculated metrics for 7 days/30 days metrics (Calculation Validation is WIP)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BI Team is updating the Tableau Dashboard visuals are being updated to the new table views with calculated fields with validation of all the metrics on Tableau  </a:t>
            </a:r>
            <a:r>
              <a:rPr lang="en-US" sz="1050" i="1" dirty="0">
                <a:latin typeface="Arial" panose="020B0604020202020204" pitchFamily="34" charset="0"/>
                <a:cs typeface="Arial" panose="020B0604020202020204" pitchFamily="34" charset="0"/>
              </a:rPr>
              <a:t>(Target </a:t>
            </a:r>
            <a:r>
              <a:rPr lang="en-US" sz="1050" i="1" dirty="0" smtClean="0">
                <a:latin typeface="Arial" panose="020B0604020202020204" pitchFamily="34" charset="0"/>
                <a:cs typeface="Arial" panose="020B0604020202020204" pitchFamily="34" charset="0"/>
              </a:rPr>
              <a:t>16th </a:t>
            </a:r>
            <a:r>
              <a:rPr lang="en-US" sz="1050" i="1" dirty="0">
                <a:latin typeface="Arial" panose="020B0604020202020204" pitchFamily="34" charset="0"/>
                <a:cs typeface="Arial" panose="020B0604020202020204" pitchFamily="34" charset="0"/>
              </a:rPr>
              <a:t>November 2024</a:t>
            </a:r>
            <a:r>
              <a:rPr lang="en-US" sz="1050" i="1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0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089" lvl="1" indent="-342900">
              <a:buFont typeface="Wingdings" panose="05000000000000000000" pitchFamily="2" charset="2"/>
              <a:buChar char="§"/>
            </a:pP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Trend charts and yesterday column in Tableau are done and going through data validation</a:t>
            </a: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lowchart: Connector 65"/>
          <p:cNvSpPr/>
          <p:nvPr/>
        </p:nvSpPr>
        <p:spPr>
          <a:xfrm>
            <a:off x="9394764" y="1027419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/>
          <p:cNvSpPr/>
          <p:nvPr/>
        </p:nvSpPr>
        <p:spPr>
          <a:xfrm>
            <a:off x="10789453" y="1020134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/>
          </p:nvPr>
        </p:nvGraphicFramePr>
        <p:xfrm>
          <a:off x="7770170" y="1265708"/>
          <a:ext cx="4407592" cy="168402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407592">
                  <a:extLst>
                    <a:ext uri="{9D8B030D-6E8A-4147-A177-3AD203B41FA5}">
                      <a16:colId xmlns:a16="http://schemas.microsoft.com/office/drawing/2014/main" val="644725935"/>
                    </a:ext>
                  </a:extLst>
                </a:gridCol>
              </a:tblGrid>
              <a:tr h="190675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 Objectiv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914404"/>
                  </a:ext>
                </a:extLst>
              </a:tr>
              <a:tr h="1213388">
                <a:tc>
                  <a:txBody>
                    <a:bodyPr/>
                    <a:lstStyle/>
                    <a:p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lth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core dashboard: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de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pport on building an integrated data staging layer &amp; Tableau dashboards with integration to AWS S3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obe is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source of the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.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o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traction of information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d design ETL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cedures.</a:t>
                      </a:r>
                    </a:p>
                    <a:p>
                      <a:endParaRPr lang="en-US" sz="11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B Dashboard: 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de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upport to create a query for new metrics for dashboard. (Profile and Adoption). And create a table in Athena for visualization through Tableau</a:t>
                      </a:r>
                      <a:endParaRPr lang="en-US" sz="11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513304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9534377" y="972628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gging as Per Pla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11017907" y="947841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n Track as Per Plan</a:t>
            </a: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/>
          </p:nvPr>
        </p:nvGraphicFramePr>
        <p:xfrm>
          <a:off x="21244" y="5068588"/>
          <a:ext cx="12163910" cy="11510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7565">
                  <a:extLst>
                    <a:ext uri="{9D8B030D-6E8A-4147-A177-3AD203B41FA5}">
                      <a16:colId xmlns:a16="http://schemas.microsoft.com/office/drawing/2014/main" val="3485745838"/>
                    </a:ext>
                  </a:extLst>
                </a:gridCol>
                <a:gridCol w="1431637">
                  <a:extLst>
                    <a:ext uri="{9D8B030D-6E8A-4147-A177-3AD203B41FA5}">
                      <a16:colId xmlns:a16="http://schemas.microsoft.com/office/drawing/2014/main" val="1933349237"/>
                    </a:ext>
                  </a:extLst>
                </a:gridCol>
                <a:gridCol w="4620027">
                  <a:extLst>
                    <a:ext uri="{9D8B030D-6E8A-4147-A177-3AD203B41FA5}">
                      <a16:colId xmlns:a16="http://schemas.microsoft.com/office/drawing/2014/main" val="873321475"/>
                    </a:ext>
                  </a:extLst>
                </a:gridCol>
                <a:gridCol w="1551709">
                  <a:extLst>
                    <a:ext uri="{9D8B030D-6E8A-4147-A177-3AD203B41FA5}">
                      <a16:colId xmlns:a16="http://schemas.microsoft.com/office/drawing/2014/main" val="73775240"/>
                    </a:ext>
                  </a:extLst>
                </a:gridCol>
                <a:gridCol w="3502972">
                  <a:extLst>
                    <a:ext uri="{9D8B030D-6E8A-4147-A177-3AD203B41FA5}">
                      <a16:colId xmlns:a16="http://schemas.microsoft.com/office/drawing/2014/main" val="2160433153"/>
                    </a:ext>
                  </a:extLst>
                </a:gridCol>
              </a:tblGrid>
              <a:tr h="358594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/I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VERITY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NED DATE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TIGATION/UPDATES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8391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lth score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</a:t>
                      </a:r>
                      <a:r>
                        <a:rPr lang="en-US" sz="1000" b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_DB_Metrics_Cal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able, getting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ew columns as </a:t>
                      </a:r>
                      <a:r>
                        <a:rPr lang="en-US" sz="1000" b="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N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Team is working on reviewing the transformation code in Glue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m is reviewing the code in Python on Glue to fix the issues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46347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B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while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etching the data for 2 years and 2 months source query was exhausted.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ied to create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artitioned table but unable to complete the same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ning to create a separate tables for 2 years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or profile and adoption section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0633054"/>
                  </a:ext>
                </a:extLst>
              </a:tr>
            </a:tbl>
          </a:graphicData>
        </a:graphic>
      </p:graphicFrame>
      <p:sp>
        <p:nvSpPr>
          <p:cNvPr id="23" name="Flowchart: Connector 22">
            <a:extLst>
              <a:ext uri="{FF2B5EF4-FFF2-40B4-BE49-F238E27FC236}">
                <a16:creationId xmlns:a16="http://schemas.microsoft.com/office/drawing/2014/main" id="{6BEE68F1-BCB3-CB2B-A7FC-CB9CA9606B95}"/>
              </a:ext>
            </a:extLst>
          </p:cNvPr>
          <p:cNvSpPr/>
          <p:nvPr/>
        </p:nvSpPr>
        <p:spPr>
          <a:xfrm>
            <a:off x="7858367" y="5533650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Flowchart: Connector 23">
            <a:extLst>
              <a:ext uri="{FF2B5EF4-FFF2-40B4-BE49-F238E27FC236}">
                <a16:creationId xmlns:a16="http://schemas.microsoft.com/office/drawing/2014/main" id="{95A7C292-1C66-DA31-D677-B46B6C5FC639}"/>
              </a:ext>
            </a:extLst>
          </p:cNvPr>
          <p:cNvSpPr/>
          <p:nvPr/>
        </p:nvSpPr>
        <p:spPr>
          <a:xfrm>
            <a:off x="7858367" y="5951683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Flowchart: Connector 25">
            <a:extLst>
              <a:ext uri="{FF2B5EF4-FFF2-40B4-BE49-F238E27FC236}">
                <a16:creationId xmlns:a16="http://schemas.microsoft.com/office/drawing/2014/main" id="{6BEE68F1-BCB3-CB2B-A7FC-CB9CA9606B95}"/>
              </a:ext>
            </a:extLst>
          </p:cNvPr>
          <p:cNvSpPr/>
          <p:nvPr/>
        </p:nvSpPr>
        <p:spPr>
          <a:xfrm>
            <a:off x="9299246" y="3682590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lowchart: Connector 26">
            <a:extLst>
              <a:ext uri="{FF2B5EF4-FFF2-40B4-BE49-F238E27FC236}">
                <a16:creationId xmlns:a16="http://schemas.microsoft.com/office/drawing/2014/main" id="{95A7C292-1C66-DA31-D677-B46B6C5FC639}"/>
              </a:ext>
            </a:extLst>
          </p:cNvPr>
          <p:cNvSpPr/>
          <p:nvPr/>
        </p:nvSpPr>
        <p:spPr>
          <a:xfrm>
            <a:off x="9290010" y="4082151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Flowchart: Connector 27">
            <a:extLst>
              <a:ext uri="{FF2B5EF4-FFF2-40B4-BE49-F238E27FC236}">
                <a16:creationId xmlns:a16="http://schemas.microsoft.com/office/drawing/2014/main" id="{B071765B-C6D6-92A3-221A-9875D56950B8}"/>
              </a:ext>
            </a:extLst>
          </p:cNvPr>
          <p:cNvSpPr/>
          <p:nvPr/>
        </p:nvSpPr>
        <p:spPr>
          <a:xfrm>
            <a:off x="9290010" y="4439990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025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62778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cUEH2J4HibCRnIGpAbFA"/>
</p:tagLst>
</file>

<file path=ppt/theme/theme1.xml><?xml version="1.0" encoding="utf-8"?>
<a:theme xmlns:a="http://schemas.openxmlformats.org/drawingml/2006/main" name="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Office Theme" id="{7C44F730-0DCC-4F6B-9774-F5D59B0B0284}" vid="{0757259E-854C-4462-8D68-7D72250E9CC8}"/>
    </a:ext>
  </a:extLst>
</a:theme>
</file>

<file path=ppt/theme/theme2.xml><?xml version="1.0" encoding="utf-8"?>
<a:theme xmlns:a="http://schemas.openxmlformats.org/drawingml/2006/main" name="2_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Cox Template" id="{9D7ED8C9-5839-4D45-847A-830E5890C0E9}" vid="{462980A9-AAA7-F748-89EF-9F306C11259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96262C325E63C4996D03021E06489BC" ma:contentTypeVersion="4" ma:contentTypeDescription="Create a new document." ma:contentTypeScope="" ma:versionID="9cfdc94af1956de2f6875649e5cc6aff">
  <xsd:schema xmlns:xsd="http://www.w3.org/2001/XMLSchema" xmlns:xs="http://www.w3.org/2001/XMLSchema" xmlns:p="http://schemas.microsoft.com/office/2006/metadata/properties" xmlns:ns2="80b69f1d-ead9-4f3d-aa02-a5292de2edf1" targetNamespace="http://schemas.microsoft.com/office/2006/metadata/properties" ma:root="true" ma:fieldsID="028f7d4cddf4fba99f194a4e642f5fa6" ns2:_="">
    <xsd:import namespace="80b69f1d-ead9-4f3d-aa02-a5292de2edf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b69f1d-ead9-4f3d-aa02-a5292de2ed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BC13AF2-E39A-4FD2-B967-9FAE27A81BE6}">
  <ds:schemaRefs>
    <ds:schemaRef ds:uri="http://purl.org/dc/dcmitype/"/>
    <ds:schemaRef ds:uri="http://schemas.microsoft.com/office/2006/documentManagement/types"/>
    <ds:schemaRef ds:uri="http://purl.org/dc/elements/1.1/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80b69f1d-ead9-4f3d-aa02-a5292de2edf1"/>
  </ds:schemaRefs>
</ds:datastoreItem>
</file>

<file path=customXml/itemProps2.xml><?xml version="1.0" encoding="utf-8"?>
<ds:datastoreItem xmlns:ds="http://schemas.openxmlformats.org/officeDocument/2006/customXml" ds:itemID="{9490CAD8-6F0C-42A0-89AB-C66F740BF3E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C7B93A5-87F7-4E2E-A4AB-6C75B982D9F4}">
  <ds:schemaRefs>
    <ds:schemaRef ds:uri="80b69f1d-ead9-4f3d-aa02-a5292de2edf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33</TotalTime>
  <Words>1700</Words>
  <Application>Microsoft Office PowerPoint</Application>
  <PresentationFormat>Widescreen</PresentationFormat>
  <Paragraphs>476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1" baseType="lpstr">
      <vt:lpstr>Aptos</vt:lpstr>
      <vt:lpstr>Arial</vt:lpstr>
      <vt:lpstr>Calibri</vt:lpstr>
      <vt:lpstr>Calibri Light</vt:lpstr>
      <vt:lpstr>Courier New</vt:lpstr>
      <vt:lpstr>Proxima Nova</vt:lpstr>
      <vt:lpstr>Proxima Nova Black</vt:lpstr>
      <vt:lpstr>Proxima Nova Light</vt:lpstr>
      <vt:lpstr>Segoe UI</vt:lpstr>
      <vt:lpstr>Times New Roman</vt:lpstr>
      <vt:lpstr>Wingdings</vt:lpstr>
      <vt:lpstr>Cox Communications 2019 Template (16x9)</vt:lpstr>
      <vt:lpstr>2_Cox Communications 2019 Template (16x9)</vt:lpstr>
      <vt:lpstr>think-cell Slide</vt:lpstr>
      <vt:lpstr>CIAM Project Updates</vt:lpstr>
      <vt:lpstr>CIAM Project Gantt. Status – 08th November 2024</vt:lpstr>
      <vt:lpstr>CIAM Project Milestones – 08th November 2024 </vt:lpstr>
      <vt:lpstr>CIAM Project Status – 08th November 2024 </vt:lpstr>
      <vt:lpstr>CIAM Dashboard Status 08th November 2024 </vt:lpstr>
      <vt:lpstr>CIAM Dashboard Status 08th November 2024 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mith, Lois (CCI-Atlanta)</dc:creator>
  <cp:lastModifiedBy>Harvinder Singh59</cp:lastModifiedBy>
  <cp:revision>60</cp:revision>
  <cp:lastPrinted>2023-03-15T15:20:58Z</cp:lastPrinted>
  <dcterms:created xsi:type="dcterms:W3CDTF">2016-12-14T14:35:04Z</dcterms:created>
  <dcterms:modified xsi:type="dcterms:W3CDTF">2024-11-08T12:39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96262C325E63C4996D03021E06489BC</vt:lpwstr>
  </property>
</Properties>
</file>